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2.bin" ContentType="application/vnd.openxmlformats-officedocument.oleObject"/>
  <Override PartName="/ppt/tags/tag6.xml" ContentType="application/vnd.openxmlformats-officedocument.presentationml.tags+xml"/>
  <Override PartName="/ppt/embeddings/oleObject3.bin" ContentType="application/vnd.openxmlformats-officedocument.oleObject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4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embeddings/oleObject5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6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embeddings/oleObject7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embeddings/oleObject8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embeddings/oleObject9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3"/>
  </p:notesMasterIdLst>
  <p:sldIdLst>
    <p:sldId id="281" r:id="rId5"/>
    <p:sldId id="827" r:id="rId6"/>
    <p:sldId id="837" r:id="rId7"/>
    <p:sldId id="838" r:id="rId8"/>
    <p:sldId id="841" r:id="rId9"/>
    <p:sldId id="842" r:id="rId10"/>
    <p:sldId id="843" r:id="rId11"/>
    <p:sldId id="840" r:id="rId12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DA7355-CBFE-4406-ADB8-7A64045D9EDC}" v="9" dt="2020-07-05T07:23:16.3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8" d="100"/>
          <a:sy n="78" d="100"/>
        </p:scale>
        <p:origin x="-920" y="-1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microsoft.com/office/2015/10/relationships/revisionInfo" Target="revisionInfo.xml"/><Relationship Id="rId21" Type="http://schemas.microsoft.com/office/2016/11/relationships/changesInfo" Target="changesInfos/changesInfo1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notesMaster" Target="notesMasters/notesMaster1.xml"/><Relationship Id="rId14" Type="http://schemas.openxmlformats.org/officeDocument/2006/relationships/printerSettings" Target="printerSettings/printerSettings1.bin"/><Relationship Id="rId15" Type="http://schemas.openxmlformats.org/officeDocument/2006/relationships/tags" Target="tags/tag1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tricia Bourguignon" userId="7649c7a7-e9d4-4ca8-9965-19cea404e454" providerId="ADAL" clId="{29DA7355-CBFE-4406-ADB8-7A64045D9EDC}"/>
    <pc:docChg chg="undo custSel addSld delSld modSld delMainMaster">
      <pc:chgData name="Patricia Bourguignon" userId="7649c7a7-e9d4-4ca8-9965-19cea404e454" providerId="ADAL" clId="{29DA7355-CBFE-4406-ADB8-7A64045D9EDC}" dt="2020-07-05T08:00:00.386" v="908" actId="5793"/>
      <pc:docMkLst>
        <pc:docMk/>
      </pc:docMkLst>
      <pc:sldChg chg="del">
        <pc:chgData name="Patricia Bourguignon" userId="7649c7a7-e9d4-4ca8-9965-19cea404e454" providerId="ADAL" clId="{29DA7355-CBFE-4406-ADB8-7A64045D9EDC}" dt="2020-07-05T07:21:36.608" v="37" actId="2696"/>
        <pc:sldMkLst>
          <pc:docMk/>
          <pc:sldMk cId="2152702333" sldId="256"/>
        </pc:sldMkLst>
      </pc:sldChg>
      <pc:sldChg chg="addSp modSp">
        <pc:chgData name="Patricia Bourguignon" userId="7649c7a7-e9d4-4ca8-9965-19cea404e454" providerId="ADAL" clId="{29DA7355-CBFE-4406-ADB8-7A64045D9EDC}" dt="2020-07-05T07:56:06.855" v="712" actId="207"/>
        <pc:sldMkLst>
          <pc:docMk/>
          <pc:sldMk cId="2002855400" sldId="281"/>
        </pc:sldMkLst>
        <pc:spChg chg="add mod">
          <ac:chgData name="Patricia Bourguignon" userId="7649c7a7-e9d4-4ca8-9965-19cea404e454" providerId="ADAL" clId="{29DA7355-CBFE-4406-ADB8-7A64045D9EDC}" dt="2020-07-05T07:25:35.874" v="87" actId="1076"/>
          <ac:spMkLst>
            <pc:docMk/>
            <pc:sldMk cId="2002855400" sldId="281"/>
            <ac:spMk id="8" creationId="{797B4779-E6CD-4810-913E-E05E877E5098}"/>
          </ac:spMkLst>
        </pc:spChg>
        <pc:spChg chg="mod">
          <ac:chgData name="Patricia Bourguignon" userId="7649c7a7-e9d4-4ca8-9965-19cea404e454" providerId="ADAL" clId="{29DA7355-CBFE-4406-ADB8-7A64045D9EDC}" dt="2020-07-05T07:56:06.855" v="712" actId="207"/>
          <ac:spMkLst>
            <pc:docMk/>
            <pc:sldMk cId="2002855400" sldId="281"/>
            <ac:spMk id="10" creationId="{694DE5F5-3759-4A20-8D73-88B435427942}"/>
          </ac:spMkLst>
        </pc:spChg>
      </pc:sldChg>
      <pc:sldChg chg="modSp">
        <pc:chgData name="Patricia Bourguignon" userId="7649c7a7-e9d4-4ca8-9965-19cea404e454" providerId="ADAL" clId="{29DA7355-CBFE-4406-ADB8-7A64045D9EDC}" dt="2020-07-05T07:46:13.450" v="290" actId="20577"/>
        <pc:sldMkLst>
          <pc:docMk/>
          <pc:sldMk cId="4070882640" sldId="827"/>
        </pc:sldMkLst>
        <pc:spChg chg="mod">
          <ac:chgData name="Patricia Bourguignon" userId="7649c7a7-e9d4-4ca8-9965-19cea404e454" providerId="ADAL" clId="{29DA7355-CBFE-4406-ADB8-7A64045D9EDC}" dt="2020-07-05T07:21:17.749" v="34" actId="20577"/>
          <ac:spMkLst>
            <pc:docMk/>
            <pc:sldMk cId="4070882640" sldId="827"/>
            <ac:spMk id="2" creationId="{A700E596-C177-4E96-8DA3-90A69B28AE16}"/>
          </ac:spMkLst>
        </pc:spChg>
        <pc:spChg chg="mod">
          <ac:chgData name="Patricia Bourguignon" userId="7649c7a7-e9d4-4ca8-9965-19cea404e454" providerId="ADAL" clId="{29DA7355-CBFE-4406-ADB8-7A64045D9EDC}" dt="2020-07-05T07:46:13.450" v="290" actId="20577"/>
          <ac:spMkLst>
            <pc:docMk/>
            <pc:sldMk cId="4070882640" sldId="827"/>
            <ac:spMk id="3" creationId="{C41DFF45-BA69-4104-B09C-5DEF75510EE2}"/>
          </ac:spMkLst>
        </pc:spChg>
        <pc:graphicFrameChg chg="mod">
          <ac:chgData name="Patricia Bourguignon" userId="7649c7a7-e9d4-4ca8-9965-19cea404e454" providerId="ADAL" clId="{29DA7355-CBFE-4406-ADB8-7A64045D9EDC}" dt="2020-07-05T07:21:17.773" v="36"/>
          <ac:graphicFrameMkLst>
            <pc:docMk/>
            <pc:sldMk cId="4070882640" sldId="827"/>
            <ac:graphicFrameMk id="5" creationId="{D0052C15-05F3-4068-979D-7C47B0EE377B}"/>
          </ac:graphicFrameMkLst>
        </pc:graphicFrameChg>
      </pc:sldChg>
      <pc:sldChg chg="del">
        <pc:chgData name="Patricia Bourguignon" userId="7649c7a7-e9d4-4ca8-9965-19cea404e454" providerId="ADAL" clId="{29DA7355-CBFE-4406-ADB8-7A64045D9EDC}" dt="2020-07-05T07:23:45.212" v="76" actId="2696"/>
        <pc:sldMkLst>
          <pc:docMk/>
          <pc:sldMk cId="1129466464" sldId="828"/>
        </pc:sldMkLst>
      </pc:sldChg>
      <pc:sldChg chg="del">
        <pc:chgData name="Patricia Bourguignon" userId="7649c7a7-e9d4-4ca8-9965-19cea404e454" providerId="ADAL" clId="{29DA7355-CBFE-4406-ADB8-7A64045D9EDC}" dt="2020-07-05T07:23:45.240" v="77" actId="2696"/>
        <pc:sldMkLst>
          <pc:docMk/>
          <pc:sldMk cId="2214716824" sldId="829"/>
        </pc:sldMkLst>
      </pc:sldChg>
      <pc:sldChg chg="del">
        <pc:chgData name="Patricia Bourguignon" userId="7649c7a7-e9d4-4ca8-9965-19cea404e454" providerId="ADAL" clId="{29DA7355-CBFE-4406-ADB8-7A64045D9EDC}" dt="2020-07-05T07:23:45.292" v="78" actId="2696"/>
        <pc:sldMkLst>
          <pc:docMk/>
          <pc:sldMk cId="3496553703" sldId="830"/>
        </pc:sldMkLst>
      </pc:sldChg>
      <pc:sldChg chg="del">
        <pc:chgData name="Patricia Bourguignon" userId="7649c7a7-e9d4-4ca8-9965-19cea404e454" providerId="ADAL" clId="{29DA7355-CBFE-4406-ADB8-7A64045D9EDC}" dt="2020-07-05T07:23:45.324" v="79" actId="2696"/>
        <pc:sldMkLst>
          <pc:docMk/>
          <pc:sldMk cId="237898342" sldId="831"/>
        </pc:sldMkLst>
      </pc:sldChg>
      <pc:sldChg chg="del">
        <pc:chgData name="Patricia Bourguignon" userId="7649c7a7-e9d4-4ca8-9965-19cea404e454" providerId="ADAL" clId="{29DA7355-CBFE-4406-ADB8-7A64045D9EDC}" dt="2020-07-05T07:23:45.362" v="80" actId="2696"/>
        <pc:sldMkLst>
          <pc:docMk/>
          <pc:sldMk cId="4185746432" sldId="832"/>
        </pc:sldMkLst>
      </pc:sldChg>
      <pc:sldChg chg="del">
        <pc:chgData name="Patricia Bourguignon" userId="7649c7a7-e9d4-4ca8-9965-19cea404e454" providerId="ADAL" clId="{29DA7355-CBFE-4406-ADB8-7A64045D9EDC}" dt="2020-07-05T07:23:45.402" v="81" actId="2696"/>
        <pc:sldMkLst>
          <pc:docMk/>
          <pc:sldMk cId="2967839780" sldId="833"/>
        </pc:sldMkLst>
      </pc:sldChg>
      <pc:sldChg chg="del">
        <pc:chgData name="Patricia Bourguignon" userId="7649c7a7-e9d4-4ca8-9965-19cea404e454" providerId="ADAL" clId="{29DA7355-CBFE-4406-ADB8-7A64045D9EDC}" dt="2020-07-05T07:23:48.240" v="82" actId="2696"/>
        <pc:sldMkLst>
          <pc:docMk/>
          <pc:sldMk cId="2265909978" sldId="834"/>
        </pc:sldMkLst>
      </pc:sldChg>
      <pc:sldChg chg="del">
        <pc:chgData name="Patricia Bourguignon" userId="7649c7a7-e9d4-4ca8-9965-19cea404e454" providerId="ADAL" clId="{29DA7355-CBFE-4406-ADB8-7A64045D9EDC}" dt="2020-07-05T07:23:48.254" v="83" actId="2696"/>
        <pc:sldMkLst>
          <pc:docMk/>
          <pc:sldMk cId="3888738187" sldId="835"/>
        </pc:sldMkLst>
      </pc:sldChg>
      <pc:sldChg chg="del">
        <pc:chgData name="Patricia Bourguignon" userId="7649c7a7-e9d4-4ca8-9965-19cea404e454" providerId="ADAL" clId="{29DA7355-CBFE-4406-ADB8-7A64045D9EDC}" dt="2020-07-05T07:23:48.289" v="84" actId="2696"/>
        <pc:sldMkLst>
          <pc:docMk/>
          <pc:sldMk cId="1514573804" sldId="836"/>
        </pc:sldMkLst>
      </pc:sldChg>
      <pc:sldChg chg="addSp modSp add">
        <pc:chgData name="Patricia Bourguignon" userId="7649c7a7-e9d4-4ca8-9965-19cea404e454" providerId="ADAL" clId="{29DA7355-CBFE-4406-ADB8-7A64045D9EDC}" dt="2020-07-05T07:43:19.332" v="274" actId="208"/>
        <pc:sldMkLst>
          <pc:docMk/>
          <pc:sldMk cId="2592879584" sldId="837"/>
        </pc:sldMkLst>
        <pc:spChg chg="mod">
          <ac:chgData name="Patricia Bourguignon" userId="7649c7a7-e9d4-4ca8-9965-19cea404e454" providerId="ADAL" clId="{29DA7355-CBFE-4406-ADB8-7A64045D9EDC}" dt="2020-07-05T07:42:31.872" v="211" actId="20577"/>
          <ac:spMkLst>
            <pc:docMk/>
            <pc:sldMk cId="2592879584" sldId="837"/>
            <ac:spMk id="2" creationId="{A700E596-C177-4E96-8DA3-90A69B28AE16}"/>
          </ac:spMkLst>
        </pc:spChg>
        <pc:spChg chg="mod">
          <ac:chgData name="Patricia Bourguignon" userId="7649c7a7-e9d4-4ca8-9965-19cea404e454" providerId="ADAL" clId="{29DA7355-CBFE-4406-ADB8-7A64045D9EDC}" dt="2020-07-05T07:42:28.224" v="192" actId="6549"/>
          <ac:spMkLst>
            <pc:docMk/>
            <pc:sldMk cId="2592879584" sldId="837"/>
            <ac:spMk id="4" creationId="{AC4C11B4-D25F-4F19-871A-BBFF510B0CF3}"/>
          </ac:spMkLst>
        </pc:spChg>
        <pc:spChg chg="add mod">
          <ac:chgData name="Patricia Bourguignon" userId="7649c7a7-e9d4-4ca8-9965-19cea404e454" providerId="ADAL" clId="{29DA7355-CBFE-4406-ADB8-7A64045D9EDC}" dt="2020-07-05T07:43:19.332" v="274" actId="208"/>
          <ac:spMkLst>
            <pc:docMk/>
            <pc:sldMk cId="2592879584" sldId="837"/>
            <ac:spMk id="6" creationId="{EDEB13E9-765F-4307-A3F1-4E753EB8FC59}"/>
          </ac:spMkLst>
        </pc:spChg>
        <pc:graphicFrameChg chg="mod">
          <ac:chgData name="Patricia Bourguignon" userId="7649c7a7-e9d4-4ca8-9965-19cea404e454" providerId="ADAL" clId="{29DA7355-CBFE-4406-ADB8-7A64045D9EDC}" dt="2020-07-05T07:42:32.382" v="213"/>
          <ac:graphicFrameMkLst>
            <pc:docMk/>
            <pc:sldMk cId="2592879584" sldId="837"/>
            <ac:graphicFrameMk id="5" creationId="{D0052C15-05F3-4068-979D-7C47B0EE377B}"/>
          </ac:graphicFrameMkLst>
        </pc:graphicFrameChg>
      </pc:sldChg>
      <pc:sldChg chg="modSp add">
        <pc:chgData name="Patricia Bourguignon" userId="7649c7a7-e9d4-4ca8-9965-19cea404e454" providerId="ADAL" clId="{29DA7355-CBFE-4406-ADB8-7A64045D9EDC}" dt="2020-07-05T07:48:51.366" v="416"/>
        <pc:sldMkLst>
          <pc:docMk/>
          <pc:sldMk cId="2728895518" sldId="838"/>
        </pc:sldMkLst>
        <pc:spChg chg="mod">
          <ac:chgData name="Patricia Bourguignon" userId="7649c7a7-e9d4-4ca8-9965-19cea404e454" providerId="ADAL" clId="{29DA7355-CBFE-4406-ADB8-7A64045D9EDC}" dt="2020-07-05T07:48:50.854" v="414" actId="20577"/>
          <ac:spMkLst>
            <pc:docMk/>
            <pc:sldMk cId="2728895518" sldId="838"/>
            <ac:spMk id="2" creationId="{A700E596-C177-4E96-8DA3-90A69B28AE16}"/>
          </ac:spMkLst>
        </pc:spChg>
        <pc:spChg chg="mod">
          <ac:chgData name="Patricia Bourguignon" userId="7649c7a7-e9d4-4ca8-9965-19cea404e454" providerId="ADAL" clId="{29DA7355-CBFE-4406-ADB8-7A64045D9EDC}" dt="2020-07-05T07:48:45.435" v="389" actId="6549"/>
          <ac:spMkLst>
            <pc:docMk/>
            <pc:sldMk cId="2728895518" sldId="838"/>
            <ac:spMk id="4" creationId="{AC4C11B4-D25F-4F19-871A-BBFF510B0CF3}"/>
          </ac:spMkLst>
        </pc:spChg>
        <pc:graphicFrameChg chg="mod">
          <ac:chgData name="Patricia Bourguignon" userId="7649c7a7-e9d4-4ca8-9965-19cea404e454" providerId="ADAL" clId="{29DA7355-CBFE-4406-ADB8-7A64045D9EDC}" dt="2020-07-05T07:48:51.366" v="416"/>
          <ac:graphicFrameMkLst>
            <pc:docMk/>
            <pc:sldMk cId="2728895518" sldId="838"/>
            <ac:graphicFrameMk id="5" creationId="{D0052C15-05F3-4068-979D-7C47B0EE377B}"/>
          </ac:graphicFrameMkLst>
        </pc:graphicFrameChg>
      </pc:sldChg>
      <pc:sldChg chg="modSp add del">
        <pc:chgData name="Patricia Bourguignon" userId="7649c7a7-e9d4-4ca8-9965-19cea404e454" providerId="ADAL" clId="{29DA7355-CBFE-4406-ADB8-7A64045D9EDC}" dt="2020-07-05T07:49:05.135" v="419" actId="2696"/>
        <pc:sldMkLst>
          <pc:docMk/>
          <pc:sldMk cId="3137373162" sldId="839"/>
        </pc:sldMkLst>
        <pc:spChg chg="mod">
          <ac:chgData name="Patricia Bourguignon" userId="7649c7a7-e9d4-4ca8-9965-19cea404e454" providerId="ADAL" clId="{29DA7355-CBFE-4406-ADB8-7A64045D9EDC}" dt="2020-07-05T07:48:33.469" v="351" actId="20577"/>
          <ac:spMkLst>
            <pc:docMk/>
            <pc:sldMk cId="3137373162" sldId="839"/>
            <ac:spMk id="2" creationId="{A700E596-C177-4E96-8DA3-90A69B28AE16}"/>
          </ac:spMkLst>
        </pc:spChg>
        <pc:spChg chg="mod">
          <ac:chgData name="Patricia Bourguignon" userId="7649c7a7-e9d4-4ca8-9965-19cea404e454" providerId="ADAL" clId="{29DA7355-CBFE-4406-ADB8-7A64045D9EDC}" dt="2020-07-05T07:48:24.534" v="332" actId="6549"/>
          <ac:spMkLst>
            <pc:docMk/>
            <pc:sldMk cId="3137373162" sldId="839"/>
            <ac:spMk id="4" creationId="{AC4C11B4-D25F-4F19-871A-BBFF510B0CF3}"/>
          </ac:spMkLst>
        </pc:spChg>
        <pc:graphicFrameChg chg="mod">
          <ac:chgData name="Patricia Bourguignon" userId="7649c7a7-e9d4-4ca8-9965-19cea404e454" providerId="ADAL" clId="{29DA7355-CBFE-4406-ADB8-7A64045D9EDC}" dt="2020-07-05T07:48:33.991" v="353"/>
          <ac:graphicFrameMkLst>
            <pc:docMk/>
            <pc:sldMk cId="3137373162" sldId="839"/>
            <ac:graphicFrameMk id="5" creationId="{D0052C15-05F3-4068-979D-7C47B0EE377B}"/>
          </ac:graphicFrameMkLst>
        </pc:graphicFrameChg>
      </pc:sldChg>
      <pc:sldChg chg="addSp delSp modSp add">
        <pc:chgData name="Patricia Bourguignon" userId="7649c7a7-e9d4-4ca8-9965-19cea404e454" providerId="ADAL" clId="{29DA7355-CBFE-4406-ADB8-7A64045D9EDC}" dt="2020-07-05T08:00:00.386" v="908" actId="5793"/>
        <pc:sldMkLst>
          <pc:docMk/>
          <pc:sldMk cId="851560854" sldId="840"/>
        </pc:sldMkLst>
        <pc:spChg chg="mod">
          <ac:chgData name="Patricia Bourguignon" userId="7649c7a7-e9d4-4ca8-9965-19cea404e454" providerId="ADAL" clId="{29DA7355-CBFE-4406-ADB8-7A64045D9EDC}" dt="2020-07-05T07:58:55.658" v="745" actId="20577"/>
          <ac:spMkLst>
            <pc:docMk/>
            <pc:sldMk cId="851560854" sldId="840"/>
            <ac:spMk id="2" creationId="{A700E596-C177-4E96-8DA3-90A69B28AE16}"/>
          </ac:spMkLst>
        </pc:spChg>
        <pc:spChg chg="mod">
          <ac:chgData name="Patricia Bourguignon" userId="7649c7a7-e9d4-4ca8-9965-19cea404e454" providerId="ADAL" clId="{29DA7355-CBFE-4406-ADB8-7A64045D9EDC}" dt="2020-07-05T07:58:50.287" v="739" actId="6549"/>
          <ac:spMkLst>
            <pc:docMk/>
            <pc:sldMk cId="851560854" sldId="840"/>
            <ac:spMk id="4" creationId="{AC4C11B4-D25F-4F19-871A-BBFF510B0CF3}"/>
          </ac:spMkLst>
        </pc:spChg>
        <pc:spChg chg="add del">
          <ac:chgData name="Patricia Bourguignon" userId="7649c7a7-e9d4-4ca8-9965-19cea404e454" providerId="ADAL" clId="{29DA7355-CBFE-4406-ADB8-7A64045D9EDC}" dt="2020-07-05T07:51:08.779" v="651"/>
          <ac:spMkLst>
            <pc:docMk/>
            <pc:sldMk cId="851560854" sldId="840"/>
            <ac:spMk id="6" creationId="{285C8FB1-EF39-4BF1-89F8-4E4775D693D9}"/>
          </ac:spMkLst>
        </pc:spChg>
        <pc:spChg chg="add mod">
          <ac:chgData name="Patricia Bourguignon" userId="7649c7a7-e9d4-4ca8-9965-19cea404e454" providerId="ADAL" clId="{29DA7355-CBFE-4406-ADB8-7A64045D9EDC}" dt="2020-07-05T08:00:00.386" v="908" actId="5793"/>
          <ac:spMkLst>
            <pc:docMk/>
            <pc:sldMk cId="851560854" sldId="840"/>
            <ac:spMk id="7" creationId="{17A967E6-73D7-465B-80C9-F2E70E853B12}"/>
          </ac:spMkLst>
        </pc:spChg>
        <pc:graphicFrameChg chg="mod">
          <ac:chgData name="Patricia Bourguignon" userId="7649c7a7-e9d4-4ca8-9965-19cea404e454" providerId="ADAL" clId="{29DA7355-CBFE-4406-ADB8-7A64045D9EDC}" dt="2020-07-05T07:58:56.176" v="747"/>
          <ac:graphicFrameMkLst>
            <pc:docMk/>
            <pc:sldMk cId="851560854" sldId="840"/>
            <ac:graphicFrameMk id="5" creationId="{D0052C15-05F3-4068-979D-7C47B0EE377B}"/>
          </ac:graphicFrameMkLst>
        </pc:graphicFrameChg>
      </pc:sldChg>
      <pc:sldChg chg="del">
        <pc:chgData name="Patricia Bourguignon" userId="7649c7a7-e9d4-4ca8-9965-19cea404e454" providerId="ADAL" clId="{29DA7355-CBFE-4406-ADB8-7A64045D9EDC}" dt="2020-07-05T07:22:04.350" v="50" actId="2696"/>
        <pc:sldMkLst>
          <pc:docMk/>
          <pc:sldMk cId="938567324" sldId="841"/>
        </pc:sldMkLst>
      </pc:sldChg>
      <pc:sldChg chg="add del">
        <pc:chgData name="Patricia Bourguignon" userId="7649c7a7-e9d4-4ca8-9965-19cea404e454" providerId="ADAL" clId="{29DA7355-CBFE-4406-ADB8-7A64045D9EDC}" dt="2020-07-05T07:49:01.419" v="418" actId="2696"/>
        <pc:sldMkLst>
          <pc:docMk/>
          <pc:sldMk cId="978265990" sldId="841"/>
        </pc:sldMkLst>
      </pc:sldChg>
      <pc:sldChg chg="modSp add">
        <pc:chgData name="Patricia Bourguignon" userId="7649c7a7-e9d4-4ca8-9965-19cea404e454" providerId="ADAL" clId="{29DA7355-CBFE-4406-ADB8-7A64045D9EDC}" dt="2020-07-05T07:49:59.495" v="502" actId="5793"/>
        <pc:sldMkLst>
          <pc:docMk/>
          <pc:sldMk cId="2433342422" sldId="841"/>
        </pc:sldMkLst>
        <pc:spChg chg="mod">
          <ac:chgData name="Patricia Bourguignon" userId="7649c7a7-e9d4-4ca8-9965-19cea404e454" providerId="ADAL" clId="{29DA7355-CBFE-4406-ADB8-7A64045D9EDC}" dt="2020-07-05T07:49:42.734" v="454" actId="20577"/>
          <ac:spMkLst>
            <pc:docMk/>
            <pc:sldMk cId="2433342422" sldId="841"/>
            <ac:spMk id="2" creationId="{A700E596-C177-4E96-8DA3-90A69B28AE16}"/>
          </ac:spMkLst>
        </pc:spChg>
        <pc:spChg chg="mod">
          <ac:chgData name="Patricia Bourguignon" userId="7649c7a7-e9d4-4ca8-9965-19cea404e454" providerId="ADAL" clId="{29DA7355-CBFE-4406-ADB8-7A64045D9EDC}" dt="2020-07-05T07:49:59.495" v="502" actId="5793"/>
          <ac:spMkLst>
            <pc:docMk/>
            <pc:sldMk cId="2433342422" sldId="841"/>
            <ac:spMk id="3" creationId="{C41DFF45-BA69-4104-B09C-5DEF75510EE2}"/>
          </ac:spMkLst>
        </pc:spChg>
        <pc:spChg chg="mod">
          <ac:chgData name="Patricia Bourguignon" userId="7649c7a7-e9d4-4ca8-9965-19cea404e454" providerId="ADAL" clId="{29DA7355-CBFE-4406-ADB8-7A64045D9EDC}" dt="2020-07-05T07:49:39.074" v="443" actId="6549"/>
          <ac:spMkLst>
            <pc:docMk/>
            <pc:sldMk cId="2433342422" sldId="841"/>
            <ac:spMk id="4" creationId="{AC4C11B4-D25F-4F19-871A-BBFF510B0CF3}"/>
          </ac:spMkLst>
        </pc:spChg>
        <pc:graphicFrameChg chg="mod">
          <ac:chgData name="Patricia Bourguignon" userId="7649c7a7-e9d4-4ca8-9965-19cea404e454" providerId="ADAL" clId="{29DA7355-CBFE-4406-ADB8-7A64045D9EDC}" dt="2020-07-05T07:49:43.254" v="456"/>
          <ac:graphicFrameMkLst>
            <pc:docMk/>
            <pc:sldMk cId="2433342422" sldId="841"/>
            <ac:graphicFrameMk id="5" creationId="{D0052C15-05F3-4068-979D-7C47B0EE377B}"/>
          </ac:graphicFrameMkLst>
        </pc:graphicFrameChg>
      </pc:sldChg>
      <pc:sldChg chg="modSp add">
        <pc:chgData name="Patricia Bourguignon" userId="7649c7a7-e9d4-4ca8-9965-19cea404e454" providerId="ADAL" clId="{29DA7355-CBFE-4406-ADB8-7A64045D9EDC}" dt="2020-07-05T07:50:31.778" v="588" actId="5793"/>
        <pc:sldMkLst>
          <pc:docMk/>
          <pc:sldMk cId="1871154870" sldId="842"/>
        </pc:sldMkLst>
        <pc:spChg chg="mod">
          <ac:chgData name="Patricia Bourguignon" userId="7649c7a7-e9d4-4ca8-9965-19cea404e454" providerId="ADAL" clId="{29DA7355-CBFE-4406-ADB8-7A64045D9EDC}" dt="2020-07-05T07:50:20.177" v="569" actId="20577"/>
          <ac:spMkLst>
            <pc:docMk/>
            <pc:sldMk cId="1871154870" sldId="842"/>
            <ac:spMk id="2" creationId="{A700E596-C177-4E96-8DA3-90A69B28AE16}"/>
          </ac:spMkLst>
        </pc:spChg>
        <pc:spChg chg="mod">
          <ac:chgData name="Patricia Bourguignon" userId="7649c7a7-e9d4-4ca8-9965-19cea404e454" providerId="ADAL" clId="{29DA7355-CBFE-4406-ADB8-7A64045D9EDC}" dt="2020-07-05T07:50:31.778" v="588" actId="5793"/>
          <ac:spMkLst>
            <pc:docMk/>
            <pc:sldMk cId="1871154870" sldId="842"/>
            <ac:spMk id="3" creationId="{C41DFF45-BA69-4104-B09C-5DEF75510EE2}"/>
          </ac:spMkLst>
        </pc:spChg>
        <pc:spChg chg="mod">
          <ac:chgData name="Patricia Bourguignon" userId="7649c7a7-e9d4-4ca8-9965-19cea404e454" providerId="ADAL" clId="{29DA7355-CBFE-4406-ADB8-7A64045D9EDC}" dt="2020-07-05T07:50:15.482" v="544" actId="6549"/>
          <ac:spMkLst>
            <pc:docMk/>
            <pc:sldMk cId="1871154870" sldId="842"/>
            <ac:spMk id="4" creationId="{AC4C11B4-D25F-4F19-871A-BBFF510B0CF3}"/>
          </ac:spMkLst>
        </pc:spChg>
        <pc:graphicFrameChg chg="mod">
          <ac:chgData name="Patricia Bourguignon" userId="7649c7a7-e9d4-4ca8-9965-19cea404e454" providerId="ADAL" clId="{29DA7355-CBFE-4406-ADB8-7A64045D9EDC}" dt="2020-07-05T07:50:20.700" v="571"/>
          <ac:graphicFrameMkLst>
            <pc:docMk/>
            <pc:sldMk cId="1871154870" sldId="842"/>
            <ac:graphicFrameMk id="5" creationId="{D0052C15-05F3-4068-979D-7C47B0EE377B}"/>
          </ac:graphicFrameMkLst>
        </pc:graphicFrameChg>
      </pc:sldChg>
      <pc:sldChg chg="addSp delSp modSp add">
        <pc:chgData name="Patricia Bourguignon" userId="7649c7a7-e9d4-4ca8-9965-19cea404e454" providerId="ADAL" clId="{29DA7355-CBFE-4406-ADB8-7A64045D9EDC}" dt="2020-07-05T07:51:41.218" v="681" actId="20577"/>
        <pc:sldMkLst>
          <pc:docMk/>
          <pc:sldMk cId="1339035550" sldId="843"/>
        </pc:sldMkLst>
        <pc:spChg chg="mod">
          <ac:chgData name="Patricia Bourguignon" userId="7649c7a7-e9d4-4ca8-9965-19cea404e454" providerId="ADAL" clId="{29DA7355-CBFE-4406-ADB8-7A64045D9EDC}" dt="2020-07-05T07:50:53.986" v="645" actId="20577"/>
          <ac:spMkLst>
            <pc:docMk/>
            <pc:sldMk cId="1339035550" sldId="843"/>
            <ac:spMk id="2" creationId="{A700E596-C177-4E96-8DA3-90A69B28AE16}"/>
          </ac:spMkLst>
        </pc:spChg>
        <pc:spChg chg="mod">
          <ac:chgData name="Patricia Bourguignon" userId="7649c7a7-e9d4-4ca8-9965-19cea404e454" providerId="ADAL" clId="{29DA7355-CBFE-4406-ADB8-7A64045D9EDC}" dt="2020-07-05T07:51:41.218" v="681" actId="20577"/>
          <ac:spMkLst>
            <pc:docMk/>
            <pc:sldMk cId="1339035550" sldId="843"/>
            <ac:spMk id="3" creationId="{C41DFF45-BA69-4104-B09C-5DEF75510EE2}"/>
          </ac:spMkLst>
        </pc:spChg>
        <pc:spChg chg="mod">
          <ac:chgData name="Patricia Bourguignon" userId="7649c7a7-e9d4-4ca8-9965-19cea404e454" providerId="ADAL" clId="{29DA7355-CBFE-4406-ADB8-7A64045D9EDC}" dt="2020-07-05T07:50:45.947" v="621" actId="6549"/>
          <ac:spMkLst>
            <pc:docMk/>
            <pc:sldMk cId="1339035550" sldId="843"/>
            <ac:spMk id="4" creationId="{AC4C11B4-D25F-4F19-871A-BBFF510B0CF3}"/>
          </ac:spMkLst>
        </pc:spChg>
        <pc:spChg chg="add del">
          <ac:chgData name="Patricia Bourguignon" userId="7649c7a7-e9d4-4ca8-9965-19cea404e454" providerId="ADAL" clId="{29DA7355-CBFE-4406-ADB8-7A64045D9EDC}" dt="2020-07-05T07:51:04.369" v="649"/>
          <ac:spMkLst>
            <pc:docMk/>
            <pc:sldMk cId="1339035550" sldId="843"/>
            <ac:spMk id="6" creationId="{45B7202B-8AEC-4DD0-B316-13EC0F871432}"/>
          </ac:spMkLst>
        </pc:spChg>
        <pc:spChg chg="add mod">
          <ac:chgData name="Patricia Bourguignon" userId="7649c7a7-e9d4-4ca8-9965-19cea404e454" providerId="ADAL" clId="{29DA7355-CBFE-4406-ADB8-7A64045D9EDC}" dt="2020-07-05T07:51:35.464" v="680" actId="20577"/>
          <ac:spMkLst>
            <pc:docMk/>
            <pc:sldMk cId="1339035550" sldId="843"/>
            <ac:spMk id="7" creationId="{EDB71654-1C0C-4AA1-98D8-BC3DD21755AD}"/>
          </ac:spMkLst>
        </pc:spChg>
        <pc:graphicFrameChg chg="mod">
          <ac:chgData name="Patricia Bourguignon" userId="7649c7a7-e9d4-4ca8-9965-19cea404e454" providerId="ADAL" clId="{29DA7355-CBFE-4406-ADB8-7A64045D9EDC}" dt="2020-07-05T07:50:54.494" v="647"/>
          <ac:graphicFrameMkLst>
            <pc:docMk/>
            <pc:sldMk cId="1339035550" sldId="843"/>
            <ac:graphicFrameMk id="5" creationId="{D0052C15-05F3-4068-979D-7C47B0EE377B}"/>
          </ac:graphicFrameMkLst>
        </pc:graphicFrameChg>
      </pc:sldChg>
      <pc:sldMasterChg chg="del delSldLayout">
        <pc:chgData name="Patricia Bourguignon" userId="7649c7a7-e9d4-4ca8-9965-19cea404e454" providerId="ADAL" clId="{29DA7355-CBFE-4406-ADB8-7A64045D9EDC}" dt="2020-07-05T07:21:36.665" v="49" actId="2696"/>
        <pc:sldMasterMkLst>
          <pc:docMk/>
          <pc:sldMasterMk cId="1519232385" sldId="2147483660"/>
        </pc:sldMasterMkLst>
        <pc:sldLayoutChg chg="del">
          <pc:chgData name="Patricia Bourguignon" userId="7649c7a7-e9d4-4ca8-9965-19cea404e454" providerId="ADAL" clId="{29DA7355-CBFE-4406-ADB8-7A64045D9EDC}" dt="2020-07-05T07:21:36.610" v="38" actId="2696"/>
          <pc:sldLayoutMkLst>
            <pc:docMk/>
            <pc:sldMasterMk cId="1519232385" sldId="2147483660"/>
            <pc:sldLayoutMk cId="2024890637" sldId="2147483661"/>
          </pc:sldLayoutMkLst>
        </pc:sldLayoutChg>
        <pc:sldLayoutChg chg="del">
          <pc:chgData name="Patricia Bourguignon" userId="7649c7a7-e9d4-4ca8-9965-19cea404e454" providerId="ADAL" clId="{29DA7355-CBFE-4406-ADB8-7A64045D9EDC}" dt="2020-07-05T07:21:36.611" v="39" actId="2696"/>
          <pc:sldLayoutMkLst>
            <pc:docMk/>
            <pc:sldMasterMk cId="1519232385" sldId="2147483660"/>
            <pc:sldLayoutMk cId="3700939324" sldId="2147483662"/>
          </pc:sldLayoutMkLst>
        </pc:sldLayoutChg>
        <pc:sldLayoutChg chg="del">
          <pc:chgData name="Patricia Bourguignon" userId="7649c7a7-e9d4-4ca8-9965-19cea404e454" providerId="ADAL" clId="{29DA7355-CBFE-4406-ADB8-7A64045D9EDC}" dt="2020-07-05T07:21:36.612" v="40" actId="2696"/>
          <pc:sldLayoutMkLst>
            <pc:docMk/>
            <pc:sldMasterMk cId="1519232385" sldId="2147483660"/>
            <pc:sldLayoutMk cId="4192832633" sldId="2147483663"/>
          </pc:sldLayoutMkLst>
        </pc:sldLayoutChg>
        <pc:sldLayoutChg chg="del">
          <pc:chgData name="Patricia Bourguignon" userId="7649c7a7-e9d4-4ca8-9965-19cea404e454" providerId="ADAL" clId="{29DA7355-CBFE-4406-ADB8-7A64045D9EDC}" dt="2020-07-05T07:21:36.613" v="41" actId="2696"/>
          <pc:sldLayoutMkLst>
            <pc:docMk/>
            <pc:sldMasterMk cId="1519232385" sldId="2147483660"/>
            <pc:sldLayoutMk cId="3539975515" sldId="2147483664"/>
          </pc:sldLayoutMkLst>
        </pc:sldLayoutChg>
        <pc:sldLayoutChg chg="del">
          <pc:chgData name="Patricia Bourguignon" userId="7649c7a7-e9d4-4ca8-9965-19cea404e454" providerId="ADAL" clId="{29DA7355-CBFE-4406-ADB8-7A64045D9EDC}" dt="2020-07-05T07:21:36.615" v="42" actId="2696"/>
          <pc:sldLayoutMkLst>
            <pc:docMk/>
            <pc:sldMasterMk cId="1519232385" sldId="2147483660"/>
            <pc:sldLayoutMk cId="1978578499" sldId="2147483665"/>
          </pc:sldLayoutMkLst>
        </pc:sldLayoutChg>
        <pc:sldLayoutChg chg="del">
          <pc:chgData name="Patricia Bourguignon" userId="7649c7a7-e9d4-4ca8-9965-19cea404e454" providerId="ADAL" clId="{29DA7355-CBFE-4406-ADB8-7A64045D9EDC}" dt="2020-07-05T07:21:36.616" v="43" actId="2696"/>
          <pc:sldLayoutMkLst>
            <pc:docMk/>
            <pc:sldMasterMk cId="1519232385" sldId="2147483660"/>
            <pc:sldLayoutMk cId="3313787818" sldId="2147483666"/>
          </pc:sldLayoutMkLst>
        </pc:sldLayoutChg>
        <pc:sldLayoutChg chg="del">
          <pc:chgData name="Patricia Bourguignon" userId="7649c7a7-e9d4-4ca8-9965-19cea404e454" providerId="ADAL" clId="{29DA7355-CBFE-4406-ADB8-7A64045D9EDC}" dt="2020-07-05T07:21:36.618" v="44" actId="2696"/>
          <pc:sldLayoutMkLst>
            <pc:docMk/>
            <pc:sldMasterMk cId="1519232385" sldId="2147483660"/>
            <pc:sldLayoutMk cId="1611642258" sldId="2147483667"/>
          </pc:sldLayoutMkLst>
        </pc:sldLayoutChg>
        <pc:sldLayoutChg chg="del">
          <pc:chgData name="Patricia Bourguignon" userId="7649c7a7-e9d4-4ca8-9965-19cea404e454" providerId="ADAL" clId="{29DA7355-CBFE-4406-ADB8-7A64045D9EDC}" dt="2020-07-05T07:21:36.621" v="45" actId="2696"/>
          <pc:sldLayoutMkLst>
            <pc:docMk/>
            <pc:sldMasterMk cId="1519232385" sldId="2147483660"/>
            <pc:sldLayoutMk cId="4076871718" sldId="2147483668"/>
          </pc:sldLayoutMkLst>
        </pc:sldLayoutChg>
        <pc:sldLayoutChg chg="del">
          <pc:chgData name="Patricia Bourguignon" userId="7649c7a7-e9d4-4ca8-9965-19cea404e454" providerId="ADAL" clId="{29DA7355-CBFE-4406-ADB8-7A64045D9EDC}" dt="2020-07-05T07:21:36.623" v="46" actId="2696"/>
          <pc:sldLayoutMkLst>
            <pc:docMk/>
            <pc:sldMasterMk cId="1519232385" sldId="2147483660"/>
            <pc:sldLayoutMk cId="2093033688" sldId="2147483669"/>
          </pc:sldLayoutMkLst>
        </pc:sldLayoutChg>
        <pc:sldLayoutChg chg="del">
          <pc:chgData name="Patricia Bourguignon" userId="7649c7a7-e9d4-4ca8-9965-19cea404e454" providerId="ADAL" clId="{29DA7355-CBFE-4406-ADB8-7A64045D9EDC}" dt="2020-07-05T07:21:36.625" v="47" actId="2696"/>
          <pc:sldLayoutMkLst>
            <pc:docMk/>
            <pc:sldMasterMk cId="1519232385" sldId="2147483660"/>
            <pc:sldLayoutMk cId="1354186431" sldId="2147483670"/>
          </pc:sldLayoutMkLst>
        </pc:sldLayoutChg>
        <pc:sldLayoutChg chg="del">
          <pc:chgData name="Patricia Bourguignon" userId="7649c7a7-e9d4-4ca8-9965-19cea404e454" providerId="ADAL" clId="{29DA7355-CBFE-4406-ADB8-7A64045D9EDC}" dt="2020-07-05T07:21:36.628" v="48" actId="2696"/>
          <pc:sldLayoutMkLst>
            <pc:docMk/>
            <pc:sldMasterMk cId="1519232385" sldId="2147483660"/>
            <pc:sldLayoutMk cId="1303377229" sldId="2147483671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FEA52F-9022-4DFD-A39A-05F0C8772053}" type="datetimeFigureOut">
              <a:rPr lang="fr-BE" smtClean="0"/>
              <a:t>10/01/21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81E835-9C21-4564-9814-716FB737238A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534103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sz="1100" b="1" u="sng" dirty="0"/>
              <a:t>Références Photos</a:t>
            </a:r>
          </a:p>
          <a:p>
            <a:r>
              <a:rPr lang="fr-BE" sz="1100" dirty="0"/>
              <a:t>Photo : Pierre Van Vlodor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12F1E-4544-4355-8FC6-7CCEB44B6354}" type="slidenum">
              <a:rPr kumimoji="0" lang="fr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5006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4"/>
          <p:cNvGrpSpPr/>
          <p:nvPr/>
        </p:nvGrpSpPr>
        <p:grpSpPr>
          <a:xfrm rot="5400000">
            <a:off x="5558914" y="3293269"/>
            <a:ext cx="6860108" cy="310064"/>
            <a:chOff x="0" y="0"/>
            <a:chExt cx="9144000" cy="6858000"/>
          </a:xfrm>
          <a:gradFill flip="none" rotWithShape="1">
            <a:gsLst>
              <a:gs pos="24000">
                <a:srgbClr val="41A099"/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</p:grpSpPr>
        <p:grpSp>
          <p:nvGrpSpPr>
            <p:cNvPr id="70" name="Group 4"/>
            <p:cNvGrpSpPr/>
            <p:nvPr/>
          </p:nvGrpSpPr>
          <p:grpSpPr>
            <a:xfrm>
              <a:off x="0" y="0"/>
              <a:ext cx="2514600" cy="6858000"/>
              <a:chOff x="0" y="0"/>
              <a:chExt cx="2514600" cy="6858000"/>
            </a:xfrm>
            <a:grpFill/>
          </p:grpSpPr>
          <p:sp>
            <p:nvSpPr>
              <p:cNvPr id="115" name="Rectangle 114"/>
              <p:cNvSpPr/>
              <p:nvPr/>
            </p:nvSpPr>
            <p:spPr>
              <a:xfrm>
                <a:off x="914400" y="0"/>
                <a:ext cx="1600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Rectangle 2"/>
              <p:cNvSpPr/>
              <p:nvPr/>
            </p:nvSpPr>
            <p:spPr>
              <a:xfrm>
                <a:off x="0" y="0"/>
                <a:ext cx="457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Rectangle 3"/>
              <p:cNvSpPr/>
              <p:nvPr/>
            </p:nvSpPr>
            <p:spPr>
              <a:xfrm>
                <a:off x="228600" y="0"/>
                <a:ext cx="7620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1" name="Group 5"/>
            <p:cNvGrpSpPr/>
            <p:nvPr/>
          </p:nvGrpSpPr>
          <p:grpSpPr>
            <a:xfrm>
              <a:off x="422910" y="0"/>
              <a:ext cx="2514600" cy="6858000"/>
              <a:chOff x="0" y="0"/>
              <a:chExt cx="2514600" cy="6858000"/>
            </a:xfrm>
            <a:grpFill/>
          </p:grpSpPr>
          <p:sp>
            <p:nvSpPr>
              <p:cNvPr id="85" name="Rectangle 84"/>
              <p:cNvSpPr/>
              <p:nvPr/>
            </p:nvSpPr>
            <p:spPr>
              <a:xfrm>
                <a:off x="914400" y="0"/>
                <a:ext cx="1600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0" y="0"/>
                <a:ext cx="457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Rectangle 113"/>
              <p:cNvSpPr/>
              <p:nvPr/>
            </p:nvSpPr>
            <p:spPr>
              <a:xfrm>
                <a:off x="228600" y="0"/>
                <a:ext cx="7620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9"/>
            <p:cNvGrpSpPr/>
            <p:nvPr/>
          </p:nvGrpSpPr>
          <p:grpSpPr>
            <a:xfrm rot="10800000">
              <a:off x="6629400" y="0"/>
              <a:ext cx="2514600" cy="6858000"/>
              <a:chOff x="0" y="0"/>
              <a:chExt cx="2514600" cy="6858000"/>
            </a:xfrm>
            <a:grpFill/>
          </p:grpSpPr>
          <p:sp>
            <p:nvSpPr>
              <p:cNvPr id="78" name="Rectangle 77"/>
              <p:cNvSpPr/>
              <p:nvPr/>
            </p:nvSpPr>
            <p:spPr>
              <a:xfrm>
                <a:off x="914400" y="0"/>
                <a:ext cx="1600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Rectangle 78"/>
              <p:cNvSpPr/>
              <p:nvPr/>
            </p:nvSpPr>
            <p:spPr>
              <a:xfrm>
                <a:off x="0" y="0"/>
                <a:ext cx="457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Rectangle 80"/>
              <p:cNvSpPr/>
              <p:nvPr/>
            </p:nvSpPr>
            <p:spPr>
              <a:xfrm>
                <a:off x="228600" y="0"/>
                <a:ext cx="7620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5" name="Rectangle 74"/>
            <p:cNvSpPr/>
            <p:nvPr/>
          </p:nvSpPr>
          <p:spPr>
            <a:xfrm>
              <a:off x="3810000" y="0"/>
              <a:ext cx="28194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2895600" y="0"/>
              <a:ext cx="4572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/>
            <p:cNvSpPr/>
            <p:nvPr/>
          </p:nvSpPr>
          <p:spPr>
            <a:xfrm>
              <a:off x="3124200" y="0"/>
              <a:ext cx="762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1679" y="-25675"/>
            <a:ext cx="3282373" cy="6858000"/>
          </a:xfrm>
          <a:prstGeom prst="rect">
            <a:avLst/>
          </a:prstGeom>
          <a:scene3d>
            <a:camera prst="orthographicFront">
              <a:rot lat="10800000" lon="0" rev="5400000"/>
            </a:camera>
            <a:lightRig rig="threePt" dir="t"/>
          </a:scene3d>
        </p:spPr>
      </p:pic>
      <p:sp>
        <p:nvSpPr>
          <p:cNvPr id="46" name="Rectangle 45"/>
          <p:cNvSpPr/>
          <p:nvPr/>
        </p:nvSpPr>
        <p:spPr>
          <a:xfrm>
            <a:off x="4561242" y="-21511"/>
            <a:ext cx="3679116" cy="6271840"/>
          </a:xfrm>
          <a:prstGeom prst="rect">
            <a:avLst/>
          </a:prstGeom>
          <a:solidFill>
            <a:srgbClr val="F5F5F5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/>
        </p:nvSpPr>
        <p:spPr>
          <a:xfrm>
            <a:off x="4649096" y="-21511"/>
            <a:ext cx="3505200" cy="2312889"/>
          </a:xfrm>
          <a:prstGeom prst="rect">
            <a:avLst/>
          </a:prstGeom>
          <a:solidFill>
            <a:srgbClr val="41A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33365" y="2708476"/>
            <a:ext cx="3313355" cy="17021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accent6"/>
                </a:solidFill>
              </a:defRPr>
            </a:lvl1pPr>
          </a:lstStyle>
          <a:p>
            <a:r>
              <a:rPr lang="nl-BE" dirty="0" err="1"/>
              <a:t>Cliquez</a:t>
            </a:r>
            <a:r>
              <a:rPr lang="nl-BE" dirty="0"/>
              <a:t> et </a:t>
            </a:r>
            <a:r>
              <a:rPr lang="nl-BE" dirty="0" err="1"/>
              <a:t>modifiez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33365" y="4421080"/>
            <a:ext cx="3309803" cy="12606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 err="1"/>
              <a:t>Cliquez</a:t>
            </a:r>
            <a:r>
              <a:rPr lang="nl-BE" dirty="0"/>
              <a:t> pour </a:t>
            </a:r>
            <a:r>
              <a:rPr lang="nl-BE" dirty="0" err="1"/>
              <a:t>modifier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style</a:t>
            </a:r>
            <a:r>
              <a:rPr lang="nl-BE" dirty="0"/>
              <a:t> des sous-</a:t>
            </a:r>
            <a:r>
              <a:rPr lang="nl-BE" dirty="0" err="1"/>
              <a:t>titres</a:t>
            </a:r>
            <a:r>
              <a:rPr lang="nl-BE" dirty="0"/>
              <a:t> du </a:t>
            </a:r>
            <a:r>
              <a:rPr lang="nl-BE" dirty="0" err="1"/>
              <a:t>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38744" y="1516828"/>
            <a:ext cx="2133600" cy="750981"/>
          </a:xfrm>
          <a:prstGeom prst="rect">
            <a:avLst/>
          </a:prstGeom>
        </p:spPr>
        <p:txBody>
          <a:bodyPr anchor="b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fld id="{0A98AF03-7270-45C2-A683-C5E353EF01A5}" type="datetime4">
              <a:rPr lang="en-US" smtClean="0"/>
              <a:pPr/>
              <a:t>janvier 10, 2021</a:t>
            </a:fld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4650889" y="6088284"/>
            <a:ext cx="3505200" cy="817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/>
        </p:nvSpPr>
        <p:spPr>
          <a:xfrm>
            <a:off x="4650889" y="6088284"/>
            <a:ext cx="3505200" cy="81740"/>
          </a:xfrm>
          <a:prstGeom prst="rect">
            <a:avLst/>
          </a:prstGeom>
          <a:solidFill>
            <a:srgbClr val="41A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6557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 avec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0874494E-225D-4C26-B797-C782ABC62909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37F4572A-4E60-47AC-BE88-DD289F2B66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7AA5022-41F9-4375-9353-5B62EF2A2963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7B78ED3D-AABE-4D2F-B625-D2CCC3A6EC26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1E5C8FEE-93B5-41F7-9429-61A56B263B5D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xmlns="" id="{4026A715-1105-45A3-BA24-5E6BBE7FAF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8155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0874494E-225D-4C26-B797-C782ABC62909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4360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e UDN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1EBFA2-290E-406E-B7F5-774265A49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757" y="183662"/>
            <a:ext cx="8782948" cy="60040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D578903-C315-4413-B8D5-0185E3BCBEF0}"/>
              </a:ext>
            </a:extLst>
          </p:cNvPr>
          <p:cNvSpPr/>
          <p:nvPr userDrawn="1"/>
        </p:nvSpPr>
        <p:spPr>
          <a:xfrm>
            <a:off x="43542" y="34831"/>
            <a:ext cx="9072000" cy="6804000"/>
          </a:xfrm>
          <a:prstGeom prst="rect">
            <a:avLst/>
          </a:prstGeom>
          <a:noFill/>
          <a:ln w="15875" cap="flat" cmpd="sng" algn="ctr">
            <a:solidFill>
              <a:srgbClr val="41A099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 dirty="0">
              <a:ln>
                <a:noFill/>
              </a:ln>
              <a:solidFill>
                <a:srgbClr val="84FFA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95329CA-C513-4066-81D9-C659DFF40A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5463" y="5852160"/>
            <a:ext cx="1158242" cy="850373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689804E1-FF0E-45E1-B03B-92353B6E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0757" y="932897"/>
            <a:ext cx="8782948" cy="47829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4124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6D82063A-E9A7-4458-AAD2-8A2F712347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64440"/>
            <a:ext cx="9144000" cy="4650509"/>
          </a:xfrm>
          <a:prstGeom prst="rect">
            <a:avLst/>
          </a:prstGeom>
        </p:spPr>
      </p:pic>
      <p:pic>
        <p:nvPicPr>
          <p:cNvPr id="27" name="Capture d’écran 2017-04-25 à 21.19.02.png">
            <a:extLst>
              <a:ext uri="{FF2B5EF4-FFF2-40B4-BE49-F238E27FC236}">
                <a16:creationId xmlns:a16="http://schemas.microsoft.com/office/drawing/2014/main" xmlns="" id="{8F6551F2-ACCA-4BFE-A69F-7521563DF01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28508" y="162670"/>
            <a:ext cx="2641600" cy="1293127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3D2F8CFC-9F75-4A05-AE51-10B138F87ED0}"/>
              </a:ext>
            </a:extLst>
          </p:cNvPr>
          <p:cNvSpPr/>
          <p:nvPr userDrawn="1"/>
        </p:nvSpPr>
        <p:spPr>
          <a:xfrm>
            <a:off x="18904" y="1764439"/>
            <a:ext cx="9144000" cy="5005815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3652" y="1933852"/>
            <a:ext cx="7190293" cy="1702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400" b="1" i="1">
                <a:solidFill>
                  <a:schemeClr val="accent6"/>
                </a:solidFill>
              </a:defRPr>
            </a:lvl1pPr>
          </a:lstStyle>
          <a:p>
            <a:r>
              <a:rPr lang="nl-BE" dirty="0" err="1"/>
              <a:t>Cliquez</a:t>
            </a:r>
            <a:r>
              <a:rPr lang="nl-BE" dirty="0"/>
              <a:t> et </a:t>
            </a:r>
            <a:r>
              <a:rPr lang="nl-BE" dirty="0" err="1"/>
              <a:t>modifiez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3857" y="4152970"/>
            <a:ext cx="4580625" cy="12606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24637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 err="1"/>
              <a:t>Cliquez</a:t>
            </a:r>
            <a:r>
              <a:rPr lang="nl-BE" dirty="0"/>
              <a:t> pour </a:t>
            </a:r>
            <a:r>
              <a:rPr lang="nl-BE" dirty="0" err="1"/>
              <a:t>modifier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style</a:t>
            </a:r>
            <a:r>
              <a:rPr lang="nl-BE" dirty="0"/>
              <a:t> des sous-</a:t>
            </a:r>
            <a:r>
              <a:rPr lang="nl-BE" dirty="0" err="1"/>
              <a:t>titres</a:t>
            </a:r>
            <a:r>
              <a:rPr lang="nl-BE" dirty="0"/>
              <a:t> du </a:t>
            </a:r>
            <a:r>
              <a:rPr lang="nl-BE" dirty="0" err="1"/>
              <a:t>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2845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F10586BE-F2E0-44BA-9ACD-7F911751D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2" y="270748"/>
            <a:ext cx="8360086" cy="6004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112A7BD4-1749-4111-857C-DB1E80BD79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472" y="1045249"/>
            <a:ext cx="8360086" cy="5114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5986117-C511-4155-9C8D-32130CEB3B91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01028CB-D2F1-4807-B8C2-CE8C31C307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54338075-B557-4697-A1D4-96CB3367D5BD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83E41270-B6E0-4C41-9148-1A967E28837F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FD58C03D-F186-4E6A-905A-9AF01F57C079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xmlns="" id="{E96D640B-F464-40C1-A909-304262E2D0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956422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8645" y="2900829"/>
            <a:ext cx="6637468" cy="1362075"/>
          </a:xfrm>
          <a:prstGeom prst="rect">
            <a:avLst/>
          </a:prstGeom>
        </p:spPr>
        <p:txBody>
          <a:bodyPr anchor="b"/>
          <a:lstStyle>
            <a:lvl1pPr algn="l">
              <a:defRPr sz="4000" b="0" cap="none" baseline="0">
                <a:solidFill>
                  <a:srgbClr val="CC5439"/>
                </a:solidFill>
              </a:defRPr>
            </a:lvl1pPr>
          </a:lstStyle>
          <a:p>
            <a:r>
              <a:rPr lang="nl-BE" dirty="0" err="1"/>
              <a:t>Cliquez</a:t>
            </a:r>
            <a:r>
              <a:rPr lang="nl-BE" dirty="0"/>
              <a:t> et </a:t>
            </a:r>
            <a:r>
              <a:rPr lang="nl-BE" dirty="0" err="1"/>
              <a:t>modifiez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8645" y="4267200"/>
            <a:ext cx="6637467" cy="152041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BE" dirty="0" err="1"/>
              <a:t>Cliquez</a:t>
            </a:r>
            <a:r>
              <a:rPr lang="nl-BE" dirty="0"/>
              <a:t> pour </a:t>
            </a:r>
            <a:r>
              <a:rPr lang="nl-BE" dirty="0" err="1"/>
              <a:t>modifier</a:t>
            </a:r>
            <a:r>
              <a:rPr lang="nl-BE" dirty="0"/>
              <a:t> les </a:t>
            </a:r>
            <a:r>
              <a:rPr lang="nl-BE" dirty="0" err="1"/>
              <a:t>styles</a:t>
            </a:r>
            <a:r>
              <a:rPr lang="nl-BE" dirty="0"/>
              <a:t> du </a:t>
            </a:r>
            <a:r>
              <a:rPr lang="nl-BE" dirty="0" err="1"/>
              <a:t>texte</a:t>
            </a:r>
            <a:r>
              <a:rPr lang="nl-BE" dirty="0"/>
              <a:t> du </a:t>
            </a:r>
            <a:r>
              <a:rPr lang="nl-BE" dirty="0" err="1"/>
              <a:t>masque</a:t>
            </a:r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8B20AA5-6F63-4366-9E9F-71BB4AA46A80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B68A0FAE-7448-4F8B-8708-B9673343B0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7E7861F-0C20-4638-99E6-8B851A0153E5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B18CD487-D0DE-428B-B3E7-ECD0D5DEE959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C3FDB9E4-E6A8-42E8-A471-9C0FC531C994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xmlns="" id="{AC19A750-AF05-4512-95E2-DE2312EACE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19910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8645" y="2900829"/>
            <a:ext cx="6637468" cy="679133"/>
          </a:xfrm>
          <a:prstGeom prst="rect">
            <a:avLst/>
          </a:prstGeom>
        </p:spPr>
        <p:txBody>
          <a:bodyPr anchor="b"/>
          <a:lstStyle>
            <a:lvl1pPr algn="l">
              <a:defRPr sz="4000" b="0" cap="none" baseline="0">
                <a:solidFill>
                  <a:srgbClr val="CC5439"/>
                </a:solidFill>
              </a:defRPr>
            </a:lvl1pPr>
          </a:lstStyle>
          <a:p>
            <a:r>
              <a:rPr lang="nl-BE"/>
              <a:t>Cliquez et modifiez le titr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0508E3F5-16A8-4501-A925-3794667EF0AB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FC25D4A9-6803-49A1-9A21-DCFAF9E1C8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7CB92764-5F72-426C-AE77-3101D91D7098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B73905B5-0E4F-4132-AB9C-CF0E42597D16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D3B115A9-E1FA-479C-9F60-49B3B8466E79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xmlns="" id="{2D35EA18-A9E6-43B9-9A3D-B578D6996C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34679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FCEA3F45-D853-46F4-BDAC-50E00DE6404F}"/>
              </a:ext>
            </a:extLst>
          </p:cNvPr>
          <p:cNvGrpSpPr/>
          <p:nvPr userDrawn="1"/>
        </p:nvGrpSpPr>
        <p:grpSpPr>
          <a:xfrm>
            <a:off x="-450282" y="-21510"/>
            <a:ext cx="10023048" cy="6858000"/>
            <a:chOff x="-382404" y="0"/>
            <a:chExt cx="9932332" cy="6858000"/>
          </a:xfrm>
          <a:gradFill flip="none" rotWithShape="1">
            <a:gsLst>
              <a:gs pos="24000">
                <a:srgbClr val="41A099"/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</p:grpSpPr>
        <p:grpSp>
          <p:nvGrpSpPr>
            <p:cNvPr id="6" name="Group 44">
              <a:extLst>
                <a:ext uri="{FF2B5EF4-FFF2-40B4-BE49-F238E27FC236}">
                  <a16:creationId xmlns:a16="http://schemas.microsoft.com/office/drawing/2014/main" xmlns="" id="{D71A85E1-49E7-4B3E-8780-31F6340025CD}"/>
                </a:ext>
              </a:extLst>
            </p:cNvPr>
            <p:cNvGrpSpPr/>
            <p:nvPr/>
          </p:nvGrpSpPr>
          <p:grpSpPr>
            <a:xfrm>
              <a:off x="0" y="0"/>
              <a:ext cx="9144000" cy="6858000"/>
              <a:chOff x="0" y="0"/>
              <a:chExt cx="9144000" cy="6858000"/>
            </a:xfrm>
            <a:grpFill/>
          </p:grpSpPr>
          <p:grpSp>
            <p:nvGrpSpPr>
              <p:cNvPr id="29" name="Group 4">
                <a:extLst>
                  <a:ext uri="{FF2B5EF4-FFF2-40B4-BE49-F238E27FC236}">
                    <a16:creationId xmlns:a16="http://schemas.microsoft.com/office/drawing/2014/main" xmlns="" id="{3D634EFF-BDF7-4A83-AE5D-8B93541B8368}"/>
                  </a:ext>
                </a:extLst>
              </p:cNvPr>
              <p:cNvGrpSpPr/>
              <p:nvPr/>
            </p:nvGrpSpPr>
            <p:grpSpPr>
              <a:xfrm>
                <a:off x="0" y="0"/>
                <a:ext cx="2514600" cy="6858000"/>
                <a:chOff x="0" y="0"/>
                <a:chExt cx="2514600" cy="6858000"/>
              </a:xfrm>
              <a:grpFill/>
            </p:grpSpPr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xmlns="" id="{43E591D3-5E47-422D-8642-C7269AE46165}"/>
                    </a:ext>
                  </a:extLst>
                </p:cNvPr>
                <p:cNvSpPr/>
                <p:nvPr/>
              </p:nvSpPr>
              <p:spPr>
                <a:xfrm>
                  <a:off x="914400" y="0"/>
                  <a:ext cx="1600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2" name="Rectangle 2">
                  <a:extLst>
                    <a:ext uri="{FF2B5EF4-FFF2-40B4-BE49-F238E27FC236}">
                      <a16:creationId xmlns:a16="http://schemas.microsoft.com/office/drawing/2014/main" xmlns="" id="{891639CE-77DE-46D4-8D52-4D5B9EE1C476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457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3" name="Rectangle 3">
                  <a:extLst>
                    <a:ext uri="{FF2B5EF4-FFF2-40B4-BE49-F238E27FC236}">
                      <a16:creationId xmlns:a16="http://schemas.microsoft.com/office/drawing/2014/main" xmlns="" id="{1F81FD15-D997-4EF2-A8D5-A8495E63BD97}"/>
                    </a:ext>
                  </a:extLst>
                </p:cNvPr>
                <p:cNvSpPr/>
                <p:nvPr/>
              </p:nvSpPr>
              <p:spPr>
                <a:xfrm>
                  <a:off x="228600" y="0"/>
                  <a:ext cx="7620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0" name="Group 5">
                <a:extLst>
                  <a:ext uri="{FF2B5EF4-FFF2-40B4-BE49-F238E27FC236}">
                    <a16:creationId xmlns:a16="http://schemas.microsoft.com/office/drawing/2014/main" xmlns="" id="{A1F0EC64-64B0-4F96-98EB-530C8F7DED1E}"/>
                  </a:ext>
                </a:extLst>
              </p:cNvPr>
              <p:cNvGrpSpPr/>
              <p:nvPr/>
            </p:nvGrpSpPr>
            <p:grpSpPr>
              <a:xfrm>
                <a:off x="422910" y="0"/>
                <a:ext cx="2514600" cy="6858000"/>
                <a:chOff x="0" y="0"/>
                <a:chExt cx="2514600" cy="6858000"/>
              </a:xfrm>
              <a:grpFill/>
            </p:grpSpPr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xmlns="" id="{06969776-24A4-434C-A8E3-D0CEE784C2CC}"/>
                    </a:ext>
                  </a:extLst>
                </p:cNvPr>
                <p:cNvSpPr/>
                <p:nvPr/>
              </p:nvSpPr>
              <p:spPr>
                <a:xfrm>
                  <a:off x="914400" y="0"/>
                  <a:ext cx="1600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xmlns="" id="{22717350-BA8E-4051-B94D-AD04233A1C4F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457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xmlns="" id="{867C1061-954C-4158-AAE8-69D7558697E4}"/>
                    </a:ext>
                  </a:extLst>
                </p:cNvPr>
                <p:cNvSpPr/>
                <p:nvPr/>
              </p:nvSpPr>
              <p:spPr>
                <a:xfrm>
                  <a:off x="228600" y="0"/>
                  <a:ext cx="7620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1" name="Group 9">
                <a:extLst>
                  <a:ext uri="{FF2B5EF4-FFF2-40B4-BE49-F238E27FC236}">
                    <a16:creationId xmlns:a16="http://schemas.microsoft.com/office/drawing/2014/main" xmlns="" id="{88F4EF20-0ABC-42F1-96EF-9E859AA31754}"/>
                  </a:ext>
                </a:extLst>
              </p:cNvPr>
              <p:cNvGrpSpPr/>
              <p:nvPr/>
            </p:nvGrpSpPr>
            <p:grpSpPr>
              <a:xfrm rot="10800000">
                <a:off x="6629400" y="0"/>
                <a:ext cx="2514600" cy="6858000"/>
                <a:chOff x="0" y="0"/>
                <a:chExt cx="2514600" cy="6858000"/>
              </a:xfrm>
              <a:grp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xmlns="" id="{92E3515B-58A8-40AA-89ED-AE7C14A1532B}"/>
                    </a:ext>
                  </a:extLst>
                </p:cNvPr>
                <p:cNvSpPr/>
                <p:nvPr/>
              </p:nvSpPr>
              <p:spPr>
                <a:xfrm>
                  <a:off x="914400" y="0"/>
                  <a:ext cx="1600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xmlns="" id="{4B2DADD8-126B-4C53-A0D5-4C79E39231D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457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xmlns="" id="{A266118C-A773-4134-B93B-E1908D7EBD52}"/>
                    </a:ext>
                  </a:extLst>
                </p:cNvPr>
                <p:cNvSpPr/>
                <p:nvPr/>
              </p:nvSpPr>
              <p:spPr>
                <a:xfrm>
                  <a:off x="228600" y="0"/>
                  <a:ext cx="7620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xmlns="" id="{C6009FDC-F81C-4BFD-A2E6-230E272EEC29}"/>
                  </a:ext>
                </a:extLst>
              </p:cNvPr>
              <p:cNvSpPr/>
              <p:nvPr/>
            </p:nvSpPr>
            <p:spPr>
              <a:xfrm>
                <a:off x="3810000" y="0"/>
                <a:ext cx="28194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xmlns="" id="{1624E1AA-B664-49DB-98AB-489E4D962DCD}"/>
                  </a:ext>
                </a:extLst>
              </p:cNvPr>
              <p:cNvSpPr/>
              <p:nvPr/>
            </p:nvSpPr>
            <p:spPr>
              <a:xfrm>
                <a:off x="2895600" y="0"/>
                <a:ext cx="457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xmlns="" id="{8BB916EC-DE87-4AEF-84FD-D28397E97029}"/>
                  </a:ext>
                </a:extLst>
              </p:cNvPr>
              <p:cNvSpPr/>
              <p:nvPr/>
            </p:nvSpPr>
            <p:spPr>
              <a:xfrm>
                <a:off x="3124200" y="0"/>
                <a:ext cx="7620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Freeform 43">
              <a:extLst>
                <a:ext uri="{FF2B5EF4-FFF2-40B4-BE49-F238E27FC236}">
                  <a16:creationId xmlns:a16="http://schemas.microsoft.com/office/drawing/2014/main" xmlns="" id="{3AD708C6-0D4E-4D34-B127-ADF62536E557}"/>
                </a:ext>
              </a:extLst>
            </p:cNvPr>
            <p:cNvSpPr/>
            <p:nvPr/>
          </p:nvSpPr>
          <p:spPr>
            <a:xfrm>
              <a:off x="-11875" y="5035138"/>
              <a:ext cx="9144000" cy="1175655"/>
            </a:xfrm>
            <a:custGeom>
              <a:avLst/>
              <a:gdLst>
                <a:gd name="connsiteX0" fmla="*/ 0 w 9144000"/>
                <a:gd name="connsiteY0" fmla="*/ 1116280 h 1175656"/>
                <a:gd name="connsiteX1" fmla="*/ 1674420 w 9144000"/>
                <a:gd name="connsiteY1" fmla="*/ 1163781 h 1175656"/>
                <a:gd name="connsiteX2" fmla="*/ 4120737 w 9144000"/>
                <a:gd name="connsiteY2" fmla="*/ 1045028 h 1175656"/>
                <a:gd name="connsiteX3" fmla="*/ 7172696 w 9144000"/>
                <a:gd name="connsiteY3" fmla="*/ 605641 h 1175656"/>
                <a:gd name="connsiteX4" fmla="*/ 9144000 w 9144000"/>
                <a:gd name="connsiteY4" fmla="*/ 0 h 1175656"/>
                <a:gd name="connsiteX0" fmla="*/ 0 w 9144000"/>
                <a:gd name="connsiteY0" fmla="*/ 1270659 h 1330035"/>
                <a:gd name="connsiteX1" fmla="*/ 1674420 w 9144000"/>
                <a:gd name="connsiteY1" fmla="*/ 1318160 h 1330035"/>
                <a:gd name="connsiteX2" fmla="*/ 4120737 w 9144000"/>
                <a:gd name="connsiteY2" fmla="*/ 1199407 h 1330035"/>
                <a:gd name="connsiteX3" fmla="*/ 7172696 w 9144000"/>
                <a:gd name="connsiteY3" fmla="*/ 760020 h 1330035"/>
                <a:gd name="connsiteX4" fmla="*/ 9144000 w 9144000"/>
                <a:gd name="connsiteY4" fmla="*/ 0 h 1330035"/>
                <a:gd name="connsiteX0" fmla="*/ 0 w 9144000"/>
                <a:gd name="connsiteY0" fmla="*/ 1270659 h 1330035"/>
                <a:gd name="connsiteX1" fmla="*/ 1674420 w 9144000"/>
                <a:gd name="connsiteY1" fmla="*/ 1318160 h 1330035"/>
                <a:gd name="connsiteX2" fmla="*/ 4120737 w 9144000"/>
                <a:gd name="connsiteY2" fmla="*/ 1199407 h 1330035"/>
                <a:gd name="connsiteX3" fmla="*/ 7172696 w 9144000"/>
                <a:gd name="connsiteY3" fmla="*/ 760020 h 1330035"/>
                <a:gd name="connsiteX4" fmla="*/ 9144000 w 9144000"/>
                <a:gd name="connsiteY4" fmla="*/ 0 h 1330035"/>
                <a:gd name="connsiteX0" fmla="*/ 0 w 9144000"/>
                <a:gd name="connsiteY0" fmla="*/ 1270659 h 1330035"/>
                <a:gd name="connsiteX1" fmla="*/ 1674420 w 9144000"/>
                <a:gd name="connsiteY1" fmla="*/ 1318160 h 1330035"/>
                <a:gd name="connsiteX2" fmla="*/ 4120737 w 9144000"/>
                <a:gd name="connsiteY2" fmla="*/ 1199407 h 1330035"/>
                <a:gd name="connsiteX3" fmla="*/ 7172696 w 9144000"/>
                <a:gd name="connsiteY3" fmla="*/ 760020 h 1330035"/>
                <a:gd name="connsiteX4" fmla="*/ 9144000 w 9144000"/>
                <a:gd name="connsiteY4" fmla="*/ 0 h 1330035"/>
                <a:gd name="connsiteX0" fmla="*/ 0 w 9144000"/>
                <a:gd name="connsiteY0" fmla="*/ 1116279 h 1175655"/>
                <a:gd name="connsiteX1" fmla="*/ 1674420 w 9144000"/>
                <a:gd name="connsiteY1" fmla="*/ 1163780 h 1175655"/>
                <a:gd name="connsiteX2" fmla="*/ 4120737 w 9144000"/>
                <a:gd name="connsiteY2" fmla="*/ 1045027 h 1175655"/>
                <a:gd name="connsiteX3" fmla="*/ 7172696 w 9144000"/>
                <a:gd name="connsiteY3" fmla="*/ 605640 h 1175655"/>
                <a:gd name="connsiteX4" fmla="*/ 9144000 w 9144000"/>
                <a:gd name="connsiteY4" fmla="*/ 0 h 1175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1175655">
                  <a:moveTo>
                    <a:pt x="0" y="1116279"/>
                  </a:moveTo>
                  <a:cubicBezTo>
                    <a:pt x="493815" y="1145967"/>
                    <a:pt x="987631" y="1175655"/>
                    <a:pt x="1674420" y="1163780"/>
                  </a:cubicBezTo>
                  <a:cubicBezTo>
                    <a:pt x="2361209" y="1151905"/>
                    <a:pt x="3204358" y="1138050"/>
                    <a:pt x="4120737" y="1045027"/>
                  </a:cubicBezTo>
                  <a:cubicBezTo>
                    <a:pt x="5037116" y="952004"/>
                    <a:pt x="6335486" y="779811"/>
                    <a:pt x="7172696" y="605640"/>
                  </a:cubicBezTo>
                  <a:cubicBezTo>
                    <a:pt x="8009907" y="431469"/>
                    <a:pt x="8866910" y="154379"/>
                    <a:pt x="9144000" y="0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 44">
              <a:extLst>
                <a:ext uri="{FF2B5EF4-FFF2-40B4-BE49-F238E27FC236}">
                  <a16:creationId xmlns:a16="http://schemas.microsoft.com/office/drawing/2014/main" xmlns="" id="{1E20D1E7-5BCC-4244-8299-9C473F60E62B}"/>
                </a:ext>
              </a:extLst>
            </p:cNvPr>
            <p:cNvSpPr/>
            <p:nvPr/>
          </p:nvSpPr>
          <p:spPr>
            <a:xfrm>
              <a:off x="-11875" y="3467595"/>
              <a:ext cx="9144000" cy="890650"/>
            </a:xfrm>
            <a:custGeom>
              <a:avLst/>
              <a:gdLst>
                <a:gd name="connsiteX0" fmla="*/ 0 w 9144000"/>
                <a:gd name="connsiteY0" fmla="*/ 890650 h 890650"/>
                <a:gd name="connsiteX1" fmla="*/ 1045028 w 9144000"/>
                <a:gd name="connsiteY1" fmla="*/ 475013 h 890650"/>
                <a:gd name="connsiteX2" fmla="*/ 3111335 w 9144000"/>
                <a:gd name="connsiteY2" fmla="*/ 71252 h 890650"/>
                <a:gd name="connsiteX3" fmla="*/ 5913911 w 9144000"/>
                <a:gd name="connsiteY3" fmla="*/ 71252 h 890650"/>
                <a:gd name="connsiteX4" fmla="*/ 9144000 w 9144000"/>
                <a:gd name="connsiteY4" fmla="*/ 498764 h 89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890650">
                  <a:moveTo>
                    <a:pt x="0" y="890650"/>
                  </a:moveTo>
                  <a:cubicBezTo>
                    <a:pt x="263236" y="751114"/>
                    <a:pt x="526472" y="611579"/>
                    <a:pt x="1045028" y="475013"/>
                  </a:cubicBezTo>
                  <a:cubicBezTo>
                    <a:pt x="1563584" y="338447"/>
                    <a:pt x="2299855" y="138545"/>
                    <a:pt x="3111335" y="71252"/>
                  </a:cubicBezTo>
                  <a:cubicBezTo>
                    <a:pt x="3922815" y="3959"/>
                    <a:pt x="4908467" y="0"/>
                    <a:pt x="5913911" y="71252"/>
                  </a:cubicBezTo>
                  <a:cubicBezTo>
                    <a:pt x="6919355" y="142504"/>
                    <a:pt x="8595756" y="427512"/>
                    <a:pt x="9144000" y="498764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 45">
              <a:extLst>
                <a:ext uri="{FF2B5EF4-FFF2-40B4-BE49-F238E27FC236}">
                  <a16:creationId xmlns:a16="http://schemas.microsoft.com/office/drawing/2014/main" xmlns="" id="{9A882FC8-7AA4-44E6-83BF-152C2D001E08}"/>
                </a:ext>
              </a:extLst>
            </p:cNvPr>
            <p:cNvSpPr/>
            <p:nvPr/>
          </p:nvSpPr>
          <p:spPr>
            <a:xfrm>
              <a:off x="-23751" y="5640779"/>
              <a:ext cx="3004457" cy="1211283"/>
            </a:xfrm>
            <a:custGeom>
              <a:avLst/>
              <a:gdLst>
                <a:gd name="connsiteX0" fmla="*/ 0 w 3004457"/>
                <a:gd name="connsiteY0" fmla="*/ 0 h 1211283"/>
                <a:gd name="connsiteX1" fmla="*/ 3004457 w 3004457"/>
                <a:gd name="connsiteY1" fmla="*/ 1211283 h 1211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4457" h="1211283">
                  <a:moveTo>
                    <a:pt x="0" y="0"/>
                  </a:moveTo>
                  <a:cubicBezTo>
                    <a:pt x="1103415" y="501732"/>
                    <a:pt x="2206831" y="1003465"/>
                    <a:pt x="3004457" y="1211283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 46">
              <a:extLst>
                <a:ext uri="{FF2B5EF4-FFF2-40B4-BE49-F238E27FC236}">
                  <a16:creationId xmlns:a16="http://schemas.microsoft.com/office/drawing/2014/main" xmlns="" id="{FCACC445-B0C5-42AE-8474-4309FA65CDB9}"/>
                </a:ext>
              </a:extLst>
            </p:cNvPr>
            <p:cNvSpPr/>
            <p:nvPr/>
          </p:nvSpPr>
          <p:spPr>
            <a:xfrm>
              <a:off x="-11875" y="5284519"/>
              <a:ext cx="9144000" cy="1478478"/>
            </a:xfrm>
            <a:custGeom>
              <a:avLst/>
              <a:gdLst>
                <a:gd name="connsiteX0" fmla="*/ 0 w 9144000"/>
                <a:gd name="connsiteY0" fmla="*/ 0 h 1478478"/>
                <a:gd name="connsiteX1" fmla="*/ 1104405 w 9144000"/>
                <a:gd name="connsiteY1" fmla="*/ 344385 h 1478478"/>
                <a:gd name="connsiteX2" fmla="*/ 3194462 w 9144000"/>
                <a:gd name="connsiteY2" fmla="*/ 866899 h 1478478"/>
                <a:gd name="connsiteX3" fmla="*/ 5676405 w 9144000"/>
                <a:gd name="connsiteY3" fmla="*/ 1282536 h 1478478"/>
                <a:gd name="connsiteX4" fmla="*/ 7730836 w 9144000"/>
                <a:gd name="connsiteY4" fmla="*/ 1448790 h 1478478"/>
                <a:gd name="connsiteX5" fmla="*/ 8573984 w 9144000"/>
                <a:gd name="connsiteY5" fmla="*/ 1460665 h 1478478"/>
                <a:gd name="connsiteX6" fmla="*/ 9144000 w 9144000"/>
                <a:gd name="connsiteY6" fmla="*/ 1425039 h 147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44000" h="1478478">
                  <a:moveTo>
                    <a:pt x="0" y="0"/>
                  </a:moveTo>
                  <a:cubicBezTo>
                    <a:pt x="285997" y="99951"/>
                    <a:pt x="571995" y="199902"/>
                    <a:pt x="1104405" y="344385"/>
                  </a:cubicBezTo>
                  <a:cubicBezTo>
                    <a:pt x="1636815" y="488868"/>
                    <a:pt x="2432462" y="710541"/>
                    <a:pt x="3194462" y="866899"/>
                  </a:cubicBezTo>
                  <a:cubicBezTo>
                    <a:pt x="3956462" y="1023258"/>
                    <a:pt x="4920343" y="1185554"/>
                    <a:pt x="5676405" y="1282536"/>
                  </a:cubicBezTo>
                  <a:cubicBezTo>
                    <a:pt x="6432467" y="1379518"/>
                    <a:pt x="7247906" y="1419102"/>
                    <a:pt x="7730836" y="1448790"/>
                  </a:cubicBezTo>
                  <a:cubicBezTo>
                    <a:pt x="8213766" y="1478478"/>
                    <a:pt x="8338457" y="1464623"/>
                    <a:pt x="8573984" y="1460665"/>
                  </a:cubicBezTo>
                  <a:cubicBezTo>
                    <a:pt x="8809511" y="1456707"/>
                    <a:pt x="8976755" y="1440873"/>
                    <a:pt x="9144000" y="1425039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 48">
              <a:extLst>
                <a:ext uri="{FF2B5EF4-FFF2-40B4-BE49-F238E27FC236}">
                  <a16:creationId xmlns:a16="http://schemas.microsoft.com/office/drawing/2014/main" xmlns="" id="{8493791D-78B1-481B-BF50-C4DC4449C28C}"/>
                </a:ext>
              </a:extLst>
            </p:cNvPr>
            <p:cNvSpPr/>
            <p:nvPr/>
          </p:nvSpPr>
          <p:spPr>
            <a:xfrm>
              <a:off x="2137558" y="5132120"/>
              <a:ext cx="6982691" cy="1719942"/>
            </a:xfrm>
            <a:custGeom>
              <a:avLst/>
              <a:gdLst>
                <a:gd name="connsiteX0" fmla="*/ 0 w 6982691"/>
                <a:gd name="connsiteY0" fmla="*/ 1719942 h 1719942"/>
                <a:gd name="connsiteX1" fmla="*/ 546265 w 6982691"/>
                <a:gd name="connsiteY1" fmla="*/ 1185553 h 1719942"/>
                <a:gd name="connsiteX2" fmla="*/ 1330037 w 6982691"/>
                <a:gd name="connsiteY2" fmla="*/ 710540 h 1719942"/>
                <a:gd name="connsiteX3" fmla="*/ 2078182 w 6982691"/>
                <a:gd name="connsiteY3" fmla="*/ 437407 h 1719942"/>
                <a:gd name="connsiteX4" fmla="*/ 3348842 w 6982691"/>
                <a:gd name="connsiteY4" fmla="*/ 152399 h 1719942"/>
                <a:gd name="connsiteX5" fmla="*/ 4001985 w 6982691"/>
                <a:gd name="connsiteY5" fmla="*/ 69272 h 1719942"/>
                <a:gd name="connsiteX6" fmla="*/ 5047013 w 6982691"/>
                <a:gd name="connsiteY6" fmla="*/ 9896 h 1719942"/>
                <a:gd name="connsiteX7" fmla="*/ 5890161 w 6982691"/>
                <a:gd name="connsiteY7" fmla="*/ 9896 h 1719942"/>
                <a:gd name="connsiteX8" fmla="*/ 6495803 w 6982691"/>
                <a:gd name="connsiteY8" fmla="*/ 9896 h 1719942"/>
                <a:gd name="connsiteX9" fmla="*/ 6899564 w 6982691"/>
                <a:gd name="connsiteY9" fmla="*/ 33646 h 1719942"/>
                <a:gd name="connsiteX10" fmla="*/ 6982691 w 6982691"/>
                <a:gd name="connsiteY10" fmla="*/ 45522 h 171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982691" h="1719942">
                  <a:moveTo>
                    <a:pt x="0" y="1719942"/>
                  </a:moveTo>
                  <a:cubicBezTo>
                    <a:pt x="162296" y="1536864"/>
                    <a:pt x="324592" y="1353787"/>
                    <a:pt x="546265" y="1185553"/>
                  </a:cubicBezTo>
                  <a:cubicBezTo>
                    <a:pt x="767938" y="1017319"/>
                    <a:pt x="1074718" y="835231"/>
                    <a:pt x="1330037" y="710540"/>
                  </a:cubicBezTo>
                  <a:cubicBezTo>
                    <a:pt x="1585356" y="585849"/>
                    <a:pt x="1741715" y="530430"/>
                    <a:pt x="2078182" y="437407"/>
                  </a:cubicBezTo>
                  <a:cubicBezTo>
                    <a:pt x="2414649" y="344384"/>
                    <a:pt x="3028208" y="213755"/>
                    <a:pt x="3348842" y="152399"/>
                  </a:cubicBezTo>
                  <a:cubicBezTo>
                    <a:pt x="3669476" y="91043"/>
                    <a:pt x="3718957" y="93022"/>
                    <a:pt x="4001985" y="69272"/>
                  </a:cubicBezTo>
                  <a:cubicBezTo>
                    <a:pt x="4285013" y="45522"/>
                    <a:pt x="4732317" y="19792"/>
                    <a:pt x="5047013" y="9896"/>
                  </a:cubicBezTo>
                  <a:cubicBezTo>
                    <a:pt x="5361709" y="0"/>
                    <a:pt x="5890161" y="9896"/>
                    <a:pt x="5890161" y="9896"/>
                  </a:cubicBezTo>
                  <a:lnTo>
                    <a:pt x="6495803" y="9896"/>
                  </a:lnTo>
                  <a:cubicBezTo>
                    <a:pt x="6664037" y="13854"/>
                    <a:pt x="6818416" y="27708"/>
                    <a:pt x="6899564" y="33646"/>
                  </a:cubicBezTo>
                  <a:cubicBezTo>
                    <a:pt x="6980712" y="39584"/>
                    <a:pt x="6953003" y="37605"/>
                    <a:pt x="6982691" y="45522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xmlns="" id="{E22125A5-91F5-4234-8A5E-F3997AB66E54}"/>
                </a:ext>
              </a:extLst>
            </p:cNvPr>
            <p:cNvSpPr/>
            <p:nvPr/>
          </p:nvSpPr>
          <p:spPr>
            <a:xfrm rot="1800000">
              <a:off x="2996165" y="2859252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xmlns="" id="{6C09DD35-2D17-4A03-B8DA-347678583CBE}"/>
                </a:ext>
              </a:extLst>
            </p:cNvPr>
            <p:cNvSpPr/>
            <p:nvPr/>
          </p:nvSpPr>
          <p:spPr>
            <a:xfrm rot="1800000">
              <a:off x="3720065" y="412607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xmlns="" id="{983021F1-B6F5-4293-AE5A-D2F5A13569B1}"/>
                </a:ext>
              </a:extLst>
            </p:cNvPr>
            <p:cNvSpPr/>
            <p:nvPr/>
          </p:nvSpPr>
          <p:spPr>
            <a:xfrm rot="1800000">
              <a:off x="3729591" y="1592427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xmlns="" id="{1FC33CF0-ADAA-448F-B3C1-1BE965AAA64B}"/>
                </a:ext>
              </a:extLst>
            </p:cNvPr>
            <p:cNvSpPr/>
            <p:nvPr/>
          </p:nvSpPr>
          <p:spPr>
            <a:xfrm rot="1800000">
              <a:off x="2977115" y="325603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xmlns="" id="{2A5BBDAC-6CA5-4088-A555-9B0E9C0AA72B}"/>
                </a:ext>
              </a:extLst>
            </p:cNvPr>
            <p:cNvSpPr/>
            <p:nvPr/>
          </p:nvSpPr>
          <p:spPr>
            <a:xfrm rot="1800000">
              <a:off x="4463014" y="538337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 54">
              <a:extLst>
                <a:ext uri="{FF2B5EF4-FFF2-40B4-BE49-F238E27FC236}">
                  <a16:creationId xmlns:a16="http://schemas.microsoft.com/office/drawing/2014/main" xmlns="" id="{66ABA9A7-53CF-45C3-A9ED-A2A8885E9346}"/>
                </a:ext>
              </a:extLst>
            </p:cNvPr>
            <p:cNvSpPr/>
            <p:nvPr/>
          </p:nvSpPr>
          <p:spPr>
            <a:xfrm rot="1800000">
              <a:off x="-382404" y="4201528"/>
              <a:ext cx="1261499" cy="1388236"/>
            </a:xfrm>
            <a:custGeom>
              <a:avLst/>
              <a:gdLst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1205142 w 1601400"/>
                <a:gd name="connsiteY2" fmla="*/ 0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261499"/>
                <a:gd name="connsiteY0" fmla="*/ 105098 h 1388236"/>
                <a:gd name="connsiteX1" fmla="*/ 56357 w 1261499"/>
                <a:gd name="connsiteY1" fmla="*/ 0 h 1388236"/>
                <a:gd name="connsiteX2" fmla="*/ 865241 w 1261499"/>
                <a:gd name="connsiteY2" fmla="*/ 0 h 1388236"/>
                <a:gd name="connsiteX3" fmla="*/ 1261499 w 1261499"/>
                <a:gd name="connsiteY3" fmla="*/ 694118 h 1388236"/>
                <a:gd name="connsiteX4" fmla="*/ 865241 w 1261499"/>
                <a:gd name="connsiteY4" fmla="*/ 1388236 h 1388236"/>
                <a:gd name="connsiteX5" fmla="*/ 56357 w 1261499"/>
                <a:gd name="connsiteY5" fmla="*/ 1388236 h 1388236"/>
                <a:gd name="connsiteX6" fmla="*/ 0 w 1261499"/>
                <a:gd name="connsiteY6" fmla="*/ 105098 h 1388236"/>
                <a:gd name="connsiteX0" fmla="*/ 0 w 1261499"/>
                <a:gd name="connsiteY0" fmla="*/ 105098 h 1388236"/>
                <a:gd name="connsiteX1" fmla="*/ 56357 w 1261499"/>
                <a:gd name="connsiteY1" fmla="*/ 0 h 1388236"/>
                <a:gd name="connsiteX2" fmla="*/ 865241 w 1261499"/>
                <a:gd name="connsiteY2" fmla="*/ 0 h 1388236"/>
                <a:gd name="connsiteX3" fmla="*/ 1261499 w 1261499"/>
                <a:gd name="connsiteY3" fmla="*/ 694118 h 1388236"/>
                <a:gd name="connsiteX4" fmla="*/ 865241 w 1261499"/>
                <a:gd name="connsiteY4" fmla="*/ 1388236 h 1388236"/>
                <a:gd name="connsiteX5" fmla="*/ 744578 w 1261499"/>
                <a:gd name="connsiteY5" fmla="*/ 1387893 h 1388236"/>
                <a:gd name="connsiteX6" fmla="*/ 0 w 1261499"/>
                <a:gd name="connsiteY6" fmla="*/ 105098 h 138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1499" h="1388236">
                  <a:moveTo>
                    <a:pt x="0" y="105098"/>
                  </a:moveTo>
                  <a:lnTo>
                    <a:pt x="56357" y="0"/>
                  </a:lnTo>
                  <a:lnTo>
                    <a:pt x="865241" y="0"/>
                  </a:lnTo>
                  <a:lnTo>
                    <a:pt x="1261499" y="694118"/>
                  </a:lnTo>
                  <a:lnTo>
                    <a:pt x="865241" y="1388236"/>
                  </a:lnTo>
                  <a:lnTo>
                    <a:pt x="744578" y="1387893"/>
                  </a:lnTo>
                  <a:lnTo>
                    <a:pt x="0" y="105098"/>
                  </a:lnTo>
                  <a:close/>
                </a:path>
              </a:pathLst>
            </a:cu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xmlns="" id="{B40403B1-59EF-4424-BD23-2552490078D4}"/>
                </a:ext>
              </a:extLst>
            </p:cNvPr>
            <p:cNvSpPr/>
            <p:nvPr/>
          </p:nvSpPr>
          <p:spPr>
            <a:xfrm rot="1800000">
              <a:off x="24365" y="5402429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xmlns="" id="{A66EAAC9-ADD7-4F93-817F-A8CC84E25D9C}"/>
                </a:ext>
              </a:extLst>
            </p:cNvPr>
            <p:cNvSpPr/>
            <p:nvPr/>
          </p:nvSpPr>
          <p:spPr>
            <a:xfrm rot="1800000">
              <a:off x="52941" y="284972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xmlns="" id="{2DD315FD-E45F-4673-BFE5-D7BB161AFE70}"/>
                </a:ext>
              </a:extLst>
            </p:cNvPr>
            <p:cNvSpPr/>
            <p:nvPr/>
          </p:nvSpPr>
          <p:spPr>
            <a:xfrm rot="1800000">
              <a:off x="776840" y="4126077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xmlns="" id="{14694F88-B582-4BB4-A12E-DA99A1B733A6}"/>
                </a:ext>
              </a:extLst>
            </p:cNvPr>
            <p:cNvSpPr/>
            <p:nvPr/>
          </p:nvSpPr>
          <p:spPr>
            <a:xfrm rot="1800000">
              <a:off x="1510265" y="5411953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Hexagon 21">
              <a:extLst>
                <a:ext uri="{FF2B5EF4-FFF2-40B4-BE49-F238E27FC236}">
                  <a16:creationId xmlns:a16="http://schemas.microsoft.com/office/drawing/2014/main" xmlns="" id="{4E60FFE4-8F23-4429-9031-A315D76CAD90}"/>
                </a:ext>
              </a:extLst>
            </p:cNvPr>
            <p:cNvSpPr/>
            <p:nvPr/>
          </p:nvSpPr>
          <p:spPr>
            <a:xfrm rot="1800000">
              <a:off x="1529316" y="2859252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Hexagon 22">
              <a:extLst>
                <a:ext uri="{FF2B5EF4-FFF2-40B4-BE49-F238E27FC236}">
                  <a16:creationId xmlns:a16="http://schemas.microsoft.com/office/drawing/2014/main" xmlns="" id="{B15754C7-B21A-40D1-A03F-FBD9C846E465}"/>
                </a:ext>
              </a:extLst>
            </p:cNvPr>
            <p:cNvSpPr/>
            <p:nvPr/>
          </p:nvSpPr>
          <p:spPr>
            <a:xfrm rot="1800000">
              <a:off x="795890" y="1563853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Hexagon 23">
              <a:extLst>
                <a:ext uri="{FF2B5EF4-FFF2-40B4-BE49-F238E27FC236}">
                  <a16:creationId xmlns:a16="http://schemas.microsoft.com/office/drawing/2014/main" xmlns="" id="{9E0A251A-02D8-47B2-AA8D-1D5EE6BE4949}"/>
                </a:ext>
              </a:extLst>
            </p:cNvPr>
            <p:cNvSpPr/>
            <p:nvPr/>
          </p:nvSpPr>
          <p:spPr>
            <a:xfrm rot="1800000">
              <a:off x="6806166" y="414512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Hexagon 24">
              <a:extLst>
                <a:ext uri="{FF2B5EF4-FFF2-40B4-BE49-F238E27FC236}">
                  <a16:creationId xmlns:a16="http://schemas.microsoft.com/office/drawing/2014/main" xmlns="" id="{18760BDE-4A46-433D-9CEA-5DD287D895CF}"/>
                </a:ext>
              </a:extLst>
            </p:cNvPr>
            <p:cNvSpPr/>
            <p:nvPr/>
          </p:nvSpPr>
          <p:spPr>
            <a:xfrm rot="1800000">
              <a:off x="7549116" y="5421479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xmlns="" id="{EC8FFE81-F49B-41A1-8835-AE2EB884D7E4}"/>
                </a:ext>
              </a:extLst>
            </p:cNvPr>
            <p:cNvSpPr/>
            <p:nvPr/>
          </p:nvSpPr>
          <p:spPr>
            <a:xfrm rot="1800000">
              <a:off x="7549117" y="286877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Freeform 98">
              <a:extLst>
                <a:ext uri="{FF2B5EF4-FFF2-40B4-BE49-F238E27FC236}">
                  <a16:creationId xmlns:a16="http://schemas.microsoft.com/office/drawing/2014/main" xmlns="" id="{B069DA57-B90A-4B51-B4FC-D98480DE6A3B}"/>
                </a:ext>
              </a:extLst>
            </p:cNvPr>
            <p:cNvSpPr/>
            <p:nvPr/>
          </p:nvSpPr>
          <p:spPr>
            <a:xfrm rot="1800000">
              <a:off x="8306521" y="4055629"/>
              <a:ext cx="1243407" cy="1388236"/>
            </a:xfrm>
            <a:custGeom>
              <a:avLst/>
              <a:gdLst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1205142 w 1601400"/>
                <a:gd name="connsiteY2" fmla="*/ 0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474029 w 1601400"/>
                <a:gd name="connsiteY2" fmla="*/ 4016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243407"/>
                <a:gd name="connsiteY0" fmla="*/ 694118 h 1388236"/>
                <a:gd name="connsiteX1" fmla="*/ 396258 w 1243407"/>
                <a:gd name="connsiteY1" fmla="*/ 0 h 1388236"/>
                <a:gd name="connsiteX2" fmla="*/ 474029 w 1243407"/>
                <a:gd name="connsiteY2" fmla="*/ 4016 h 1388236"/>
                <a:gd name="connsiteX3" fmla="*/ 1243407 w 1243407"/>
                <a:gd name="connsiteY3" fmla="*/ 1325983 h 1388236"/>
                <a:gd name="connsiteX4" fmla="*/ 1205142 w 1243407"/>
                <a:gd name="connsiteY4" fmla="*/ 1388236 h 1388236"/>
                <a:gd name="connsiteX5" fmla="*/ 396258 w 1243407"/>
                <a:gd name="connsiteY5" fmla="*/ 1388236 h 1388236"/>
                <a:gd name="connsiteX6" fmla="*/ 0 w 1243407"/>
                <a:gd name="connsiteY6" fmla="*/ 694118 h 138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3407" h="1388236">
                  <a:moveTo>
                    <a:pt x="0" y="694118"/>
                  </a:moveTo>
                  <a:lnTo>
                    <a:pt x="396258" y="0"/>
                  </a:lnTo>
                  <a:lnTo>
                    <a:pt x="474029" y="4016"/>
                  </a:lnTo>
                  <a:lnTo>
                    <a:pt x="1243407" y="1325983"/>
                  </a:lnTo>
                  <a:lnTo>
                    <a:pt x="1205142" y="1388236"/>
                  </a:lnTo>
                  <a:lnTo>
                    <a:pt x="396258" y="1388236"/>
                  </a:lnTo>
                  <a:lnTo>
                    <a:pt x="0" y="694118"/>
                  </a:lnTo>
                  <a:close/>
                </a:path>
              </a:pathLst>
            </a:cu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99">
              <a:extLst>
                <a:ext uri="{FF2B5EF4-FFF2-40B4-BE49-F238E27FC236}">
                  <a16:creationId xmlns:a16="http://schemas.microsoft.com/office/drawing/2014/main" xmlns="" id="{3BB119D4-A199-40DD-A24A-B6B5EAC40EDE}"/>
                </a:ext>
              </a:extLst>
            </p:cNvPr>
            <p:cNvSpPr/>
            <p:nvPr/>
          </p:nvSpPr>
          <p:spPr>
            <a:xfrm rot="1800000">
              <a:off x="8306771" y="1511524"/>
              <a:ext cx="1241871" cy="1388822"/>
            </a:xfrm>
            <a:custGeom>
              <a:avLst/>
              <a:gdLst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1205142 w 1601400"/>
                <a:gd name="connsiteY2" fmla="*/ 0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601400"/>
                <a:gd name="connsiteY0" fmla="*/ 694704 h 1388822"/>
                <a:gd name="connsiteX1" fmla="*/ 396258 w 1601400"/>
                <a:gd name="connsiteY1" fmla="*/ 586 h 1388822"/>
                <a:gd name="connsiteX2" fmla="*/ 482002 w 1601400"/>
                <a:gd name="connsiteY2" fmla="*/ 0 h 1388822"/>
                <a:gd name="connsiteX3" fmla="*/ 1601400 w 1601400"/>
                <a:gd name="connsiteY3" fmla="*/ 694704 h 1388822"/>
                <a:gd name="connsiteX4" fmla="*/ 1205142 w 1601400"/>
                <a:gd name="connsiteY4" fmla="*/ 1388822 h 1388822"/>
                <a:gd name="connsiteX5" fmla="*/ 396258 w 1601400"/>
                <a:gd name="connsiteY5" fmla="*/ 1388822 h 1388822"/>
                <a:gd name="connsiteX6" fmla="*/ 0 w 1601400"/>
                <a:gd name="connsiteY6" fmla="*/ 694704 h 1388822"/>
                <a:gd name="connsiteX0" fmla="*/ 0 w 1241871"/>
                <a:gd name="connsiteY0" fmla="*/ 694704 h 1388822"/>
                <a:gd name="connsiteX1" fmla="*/ 396258 w 1241871"/>
                <a:gd name="connsiteY1" fmla="*/ 586 h 1388822"/>
                <a:gd name="connsiteX2" fmla="*/ 482002 w 1241871"/>
                <a:gd name="connsiteY2" fmla="*/ 0 h 1388822"/>
                <a:gd name="connsiteX3" fmla="*/ 1241871 w 1241871"/>
                <a:gd name="connsiteY3" fmla="*/ 1323912 h 1388822"/>
                <a:gd name="connsiteX4" fmla="*/ 1205142 w 1241871"/>
                <a:gd name="connsiteY4" fmla="*/ 1388822 h 1388822"/>
                <a:gd name="connsiteX5" fmla="*/ 396258 w 1241871"/>
                <a:gd name="connsiteY5" fmla="*/ 1388822 h 1388822"/>
                <a:gd name="connsiteX6" fmla="*/ 0 w 1241871"/>
                <a:gd name="connsiteY6" fmla="*/ 694704 h 1388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1871" h="1388822">
                  <a:moveTo>
                    <a:pt x="0" y="694704"/>
                  </a:moveTo>
                  <a:lnTo>
                    <a:pt x="396258" y="586"/>
                  </a:lnTo>
                  <a:lnTo>
                    <a:pt x="482002" y="0"/>
                  </a:lnTo>
                  <a:lnTo>
                    <a:pt x="1241871" y="1323912"/>
                  </a:lnTo>
                  <a:lnTo>
                    <a:pt x="1205142" y="1388822"/>
                  </a:lnTo>
                  <a:lnTo>
                    <a:pt x="396258" y="1388822"/>
                  </a:lnTo>
                  <a:lnTo>
                    <a:pt x="0" y="694704"/>
                  </a:lnTo>
                  <a:close/>
                </a:path>
              </a:pathLst>
            </a:cu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8645" y="2900829"/>
            <a:ext cx="6637468" cy="679133"/>
          </a:xfrm>
          <a:prstGeom prst="rect">
            <a:avLst/>
          </a:prstGeom>
        </p:spPr>
        <p:txBody>
          <a:bodyPr anchor="b"/>
          <a:lstStyle>
            <a:lvl1pPr algn="l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nl-BE"/>
              <a:t>Cliquez et modifiez le titr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0508E3F5-16A8-4501-A925-3794667EF0AB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489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09503" y="1949570"/>
            <a:ext cx="3419856" cy="37438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BE" dirty="0" err="1"/>
              <a:t>Cliquez</a:t>
            </a:r>
            <a:r>
              <a:rPr lang="nl-BE" dirty="0"/>
              <a:t> pour </a:t>
            </a:r>
            <a:r>
              <a:rPr lang="nl-BE" dirty="0" err="1"/>
              <a:t>modifier</a:t>
            </a:r>
            <a:r>
              <a:rPr lang="nl-BE" dirty="0"/>
              <a:t> les </a:t>
            </a:r>
            <a:r>
              <a:rPr lang="nl-BE" dirty="0" err="1"/>
              <a:t>styles</a:t>
            </a:r>
            <a:r>
              <a:rPr lang="nl-BE" dirty="0"/>
              <a:t> du </a:t>
            </a:r>
            <a:r>
              <a:rPr lang="nl-BE" dirty="0" err="1"/>
              <a:t>texte</a:t>
            </a:r>
            <a:r>
              <a:rPr lang="nl-BE" dirty="0"/>
              <a:t> du </a:t>
            </a:r>
            <a:r>
              <a:rPr lang="nl-BE" dirty="0" err="1"/>
              <a:t>masque</a:t>
            </a:r>
            <a:endParaRPr lang="nl-BE" dirty="0"/>
          </a:p>
          <a:p>
            <a:pPr lvl="1"/>
            <a:r>
              <a:rPr lang="nl-BE" dirty="0" err="1"/>
              <a:t>Deuxième</a:t>
            </a:r>
            <a:r>
              <a:rPr lang="nl-BE" dirty="0"/>
              <a:t> niveau</a:t>
            </a:r>
          </a:p>
          <a:p>
            <a:pPr lvl="2"/>
            <a:r>
              <a:rPr lang="nl-BE" dirty="0" err="1"/>
              <a:t>Troisième</a:t>
            </a:r>
            <a:r>
              <a:rPr lang="nl-BE" dirty="0"/>
              <a:t> niveau</a:t>
            </a:r>
          </a:p>
          <a:p>
            <a:pPr lvl="3"/>
            <a:r>
              <a:rPr lang="nl-BE" dirty="0" err="1"/>
              <a:t>Quatrième</a:t>
            </a:r>
            <a:r>
              <a:rPr lang="nl-BE" dirty="0"/>
              <a:t> niveau</a:t>
            </a:r>
          </a:p>
          <a:p>
            <a:pPr lvl="4"/>
            <a:r>
              <a:rPr lang="nl-BE" dirty="0" err="1"/>
              <a:t>Cinquième</a:t>
            </a:r>
            <a:r>
              <a:rPr lang="nl-BE" dirty="0"/>
              <a:t> niveau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1949569"/>
            <a:ext cx="3419856" cy="37438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0133521C-5FBA-4802-8D0D-59E4809BC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2" y="270748"/>
            <a:ext cx="8360086" cy="6004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xmlns="" id="{E7A1A3B0-E90D-45A6-BA01-87BEB2F5BACB}"/>
              </a:ext>
            </a:extLst>
          </p:cNvPr>
          <p:cNvSpPr txBox="1">
            <a:spLocks/>
          </p:cNvSpPr>
          <p:nvPr userDrawn="1"/>
        </p:nvSpPr>
        <p:spPr>
          <a:xfrm>
            <a:off x="809503" y="1354801"/>
            <a:ext cx="3419856" cy="49125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nl-BE" sz="2000" dirty="0" err="1"/>
              <a:t>Cliquez</a:t>
            </a:r>
            <a:r>
              <a:rPr lang="nl-BE" sz="2000" dirty="0"/>
              <a:t> et </a:t>
            </a:r>
            <a:r>
              <a:rPr lang="nl-BE" sz="2000" dirty="0" err="1"/>
              <a:t>modifiez</a:t>
            </a:r>
            <a:r>
              <a:rPr lang="nl-BE" sz="2000" dirty="0"/>
              <a:t> </a:t>
            </a:r>
            <a:r>
              <a:rPr lang="nl-BE" sz="2000" dirty="0" err="1"/>
              <a:t>le</a:t>
            </a:r>
            <a:r>
              <a:rPr lang="nl-BE" sz="2000" dirty="0"/>
              <a:t> </a:t>
            </a:r>
            <a:r>
              <a:rPr lang="nl-BE" sz="2000" dirty="0" err="1"/>
              <a:t>titre</a:t>
            </a:r>
            <a:endParaRPr lang="en-US" sz="2000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D0E195EF-A093-49D4-B01A-4890C206891A}"/>
              </a:ext>
            </a:extLst>
          </p:cNvPr>
          <p:cNvSpPr txBox="1">
            <a:spLocks/>
          </p:cNvSpPr>
          <p:nvPr userDrawn="1"/>
        </p:nvSpPr>
        <p:spPr>
          <a:xfrm>
            <a:off x="4645152" y="1354801"/>
            <a:ext cx="3419856" cy="49125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nl-BE" sz="2000" dirty="0" err="1"/>
              <a:t>Cliquez</a:t>
            </a:r>
            <a:r>
              <a:rPr lang="nl-BE" sz="2000" dirty="0"/>
              <a:t> et </a:t>
            </a:r>
            <a:r>
              <a:rPr lang="nl-BE" sz="2000" dirty="0" err="1"/>
              <a:t>modifiez</a:t>
            </a:r>
            <a:r>
              <a:rPr lang="nl-BE" sz="2000" dirty="0"/>
              <a:t> </a:t>
            </a:r>
            <a:r>
              <a:rPr lang="nl-BE" sz="2000" dirty="0" err="1"/>
              <a:t>le</a:t>
            </a:r>
            <a:r>
              <a:rPr lang="nl-BE" sz="2000" dirty="0"/>
              <a:t> </a:t>
            </a:r>
            <a:r>
              <a:rPr lang="nl-BE" sz="2000" dirty="0" err="1"/>
              <a:t>titre</a:t>
            </a:r>
            <a:endParaRPr lang="en-US" sz="20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D5196246-30F4-4A2D-98D4-E1F76509ABE6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5BB34B8A-6BDB-474B-8F1E-7755DEE4F2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32132F7-C281-4A54-AA7B-8F529FE9B0D0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0420564C-8EE2-47C4-A787-B7E8E4C283BC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26848F08-6E06-4943-9CF1-77084F9B8C40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xmlns="" id="{BEE09EC6-811B-4351-8E57-60DCD2C3B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3458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 avec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1A9F2FCF-7E2D-45ED-82A9-22751341E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2" y="270748"/>
            <a:ext cx="8360086" cy="6004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E45FD691-54E5-4252-A5E3-489B68D18C91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DF27DBD-35FE-4BDB-BE8A-E8FC66D464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195B968-7CC9-43C9-B1A1-B4546AC48B92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14CB475F-9965-45EE-97DC-6EA48A816290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B292E74B-B3D6-4FB6-A654-1E7F48393B85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xmlns="" id="{E6B06AAD-0EF5-4E0B-883D-EF71DBB2CF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38898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 - san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xmlns="" id="{1A9F2FCF-7E2D-45ED-82A9-22751341E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2" y="270748"/>
            <a:ext cx="8360086" cy="6004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E45FD691-54E5-4252-A5E3-489B68D18C91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3932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tags" Target="../tags/tag3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4DE11D78-5CF4-46D1-B8BB-2A8A434218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14451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7" imgW="416" imgH="416" progId="TCLayout.ActiveDocument.1">
                  <p:embed/>
                </p:oleObj>
              </mc:Choice>
              <mc:Fallback>
                <p:oleObj name="think-cell Slide" r:id="rId17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4DE11D78-5CF4-46D1-B8BB-2A8A434218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5F6C8E2B-7CF3-4A47-848B-88B83A144E87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BE" sz="3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8472" y="270748"/>
            <a:ext cx="8360086" cy="6004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 err="1"/>
              <a:t>Cliquez</a:t>
            </a:r>
            <a:r>
              <a:rPr lang="nl-BE" dirty="0"/>
              <a:t> et </a:t>
            </a:r>
            <a:r>
              <a:rPr lang="nl-BE" dirty="0" err="1"/>
              <a:t>modifiez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472" y="1045249"/>
            <a:ext cx="8360086" cy="51226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585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6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274320" algn="l" defTabSz="914400" rtl="0" eaLnBrk="1" latinLnBrk="0" hangingPunct="1">
        <a:spcBef>
          <a:spcPts val="600"/>
        </a:spcBef>
        <a:buClr>
          <a:schemeClr val="bg1">
            <a:lumMod val="50000"/>
          </a:schemeClr>
        </a:buClr>
        <a:buSzPct val="76000"/>
        <a:buFont typeface="Courier New" panose="02070309020205020404" pitchFamily="49" charset="0"/>
        <a:buChar char="o"/>
        <a:defRPr sz="1600" kern="1200">
          <a:solidFill>
            <a:srgbClr val="24213E"/>
          </a:solidFill>
          <a:latin typeface="+mn-lt"/>
          <a:ea typeface="+mn-ea"/>
          <a:cs typeface="+mn-cs"/>
        </a:defRPr>
      </a:lvl1pPr>
      <a:lvl2pPr marL="640080" indent="-274320" algn="l" defTabSz="9144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400" kern="1200">
          <a:solidFill>
            <a:srgbClr val="24213E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400" kern="1200">
          <a:solidFill>
            <a:srgbClr val="24213E"/>
          </a:solidFill>
          <a:latin typeface="+mn-lt"/>
          <a:ea typeface="+mn-ea"/>
          <a:cs typeface="+mn-cs"/>
        </a:defRPr>
      </a:lvl3pPr>
      <a:lvl4pPr marL="1124712" indent="-228600" algn="l" defTabSz="9144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400" kern="1200">
          <a:solidFill>
            <a:srgbClr val="24213E"/>
          </a:solidFill>
          <a:latin typeface="+mn-lt"/>
          <a:ea typeface="+mn-ea"/>
          <a:cs typeface="+mn-cs"/>
        </a:defRPr>
      </a:lvl4pPr>
      <a:lvl5pPr marL="1325880" indent="-228600" algn="l" defTabSz="9144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400" kern="1200" baseline="0">
          <a:solidFill>
            <a:srgbClr val="24213E"/>
          </a:solidFill>
          <a:latin typeface="+mn-lt"/>
          <a:ea typeface="+mn-ea"/>
          <a:cs typeface="+mn-cs"/>
        </a:defRPr>
      </a:lvl5pPr>
      <a:lvl6pPr marL="1517904" indent="-228600" algn="l" defTabSz="9144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719072" indent="-228600" algn="l" defTabSz="9144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920240" indent="-228600" algn="l" defTabSz="9144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121408" indent="-228600" algn="l" defTabSz="9144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9.emf"/><Relationship Id="rId8" Type="http://schemas.openxmlformats.org/officeDocument/2006/relationships/image" Target="../media/image4.png"/><Relationship Id="rId9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2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4.vml"/><Relationship Id="rId2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5.vml"/><Relationship Id="rId2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2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7.vml"/><Relationship Id="rId2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2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slideLayout" Target="../slideLayouts/slideLayout3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9.vml"/><Relationship Id="rId2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2B202176-7098-4E53-84CB-AD2E746DA3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xmlns="" id="{2B202176-7098-4E53-84CB-AD2E746DA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xmlns="" id="{F058AD2C-F4AE-4070-90AA-058A93D3E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5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94E1D14E-747D-4185-B3B3-0BF9CB6E23D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64440"/>
            <a:ext cx="9144000" cy="4650509"/>
          </a:xfrm>
          <a:prstGeom prst="rect">
            <a:avLst/>
          </a:prstGeom>
        </p:spPr>
      </p:pic>
      <p:pic>
        <p:nvPicPr>
          <p:cNvPr id="4" name="Capture d’écran 2017-04-25 à 21.19.02.png">
            <a:extLst>
              <a:ext uri="{FF2B5EF4-FFF2-40B4-BE49-F238E27FC236}">
                <a16:creationId xmlns:a16="http://schemas.microsoft.com/office/drawing/2014/main" xmlns="" id="{DDBCCB3D-784E-46D8-B044-15D8363DB0D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28508" y="162670"/>
            <a:ext cx="2641600" cy="129312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5B1B81D-377E-40AD-B602-BAD1110D13F8}"/>
              </a:ext>
            </a:extLst>
          </p:cNvPr>
          <p:cNvSpPr/>
          <p:nvPr/>
        </p:nvSpPr>
        <p:spPr>
          <a:xfrm>
            <a:off x="18904" y="1764439"/>
            <a:ext cx="9144000" cy="5005815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xmlns="" id="{16215277-8679-45AA-9AA9-111C3A77EA27}"/>
              </a:ext>
            </a:extLst>
          </p:cNvPr>
          <p:cNvSpPr txBox="1">
            <a:spLocks/>
          </p:cNvSpPr>
          <p:nvPr/>
        </p:nvSpPr>
        <p:spPr>
          <a:xfrm>
            <a:off x="856427" y="1981660"/>
            <a:ext cx="7024744" cy="183381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5400" b="1" i="1" u="none" strike="noStrike" kern="1200" cap="none" spc="0" normalizeH="0" baseline="0" noProof="0" dirty="0">
              <a:ln>
                <a:noFill/>
              </a:ln>
              <a:solidFill>
                <a:srgbClr val="CC5439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xmlns="" id="{75FF0D87-116F-4C1F-A1F3-E8B6E0B97CCE}"/>
              </a:ext>
            </a:extLst>
          </p:cNvPr>
          <p:cNvSpPr txBox="1">
            <a:spLocks/>
          </p:cNvSpPr>
          <p:nvPr/>
        </p:nvSpPr>
        <p:spPr>
          <a:xfrm>
            <a:off x="409882" y="1422768"/>
            <a:ext cx="4755797" cy="82383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400" b="1" i="0" u="none" strike="noStrike" kern="1200" cap="none" spc="0" normalizeH="0" baseline="0" noProof="0" dirty="0">
                <a:ln>
                  <a:noFill/>
                </a:ln>
                <a:solidFill>
                  <a:srgbClr val="24637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Cas pratiqu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4905BAD3-4153-4B91-854D-F2F01185B0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6427" y="2972290"/>
            <a:ext cx="7190293" cy="1069550"/>
          </a:xfrm>
        </p:spPr>
        <p:txBody>
          <a:bodyPr/>
          <a:lstStyle/>
          <a:p>
            <a:pPr lvl="0">
              <a:defRPr/>
            </a:pPr>
            <a:r>
              <a:rPr lang="fr-FR" dirty="0">
                <a:solidFill>
                  <a:srgbClr val="CC5439"/>
                </a:solidFill>
              </a:rPr>
              <a:t>XXXX</a:t>
            </a:r>
            <a:endParaRPr lang="fr-BE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xmlns="" id="{694DE5F5-3759-4A20-8D73-88B4354279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84003" y="5331973"/>
            <a:ext cx="4580625" cy="445830"/>
          </a:xfrm>
        </p:spPr>
        <p:txBody>
          <a:bodyPr/>
          <a:lstStyle/>
          <a:p>
            <a:pPr lvl="0" algn="ctr">
              <a:spcBef>
                <a:spcPts val="0"/>
              </a:spcBef>
              <a:buClrTx/>
              <a:buSzTx/>
              <a:defRPr/>
            </a:pPr>
            <a:r>
              <a:rPr lang="en-US" b="1" dirty="0"/>
              <a:t>Par xxx </a:t>
            </a:r>
            <a:r>
              <a:rPr lang="en-US" b="1" dirty="0">
                <a:solidFill>
                  <a:schemeClr val="accent6"/>
                </a:solidFill>
              </a:rPr>
              <a:t>(pas </a:t>
            </a:r>
            <a:r>
              <a:rPr lang="en-US" b="1" dirty="0" err="1">
                <a:solidFill>
                  <a:schemeClr val="accent6"/>
                </a:solidFill>
              </a:rPr>
              <a:t>obligatoire</a:t>
            </a:r>
            <a:r>
              <a:rPr lang="en-US" b="1" dirty="0">
                <a:solidFill>
                  <a:schemeClr val="accent6"/>
                </a:solidFill>
              </a:rPr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483AF85A-C14F-4D04-B935-35703E0AB870}"/>
              </a:ext>
            </a:extLst>
          </p:cNvPr>
          <p:cNvSpPr txBox="1"/>
          <p:nvPr/>
        </p:nvSpPr>
        <p:spPr>
          <a:xfrm>
            <a:off x="-6785" y="6601105"/>
            <a:ext cx="22907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000" b="0" i="1" u="none" strike="noStrike" kern="1200" cap="none" spc="0" normalizeH="0" baseline="0" noProof="0" dirty="0">
                <a:ln>
                  <a:noFill/>
                </a:ln>
                <a:solidFill>
                  <a:srgbClr val="83C1C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e xx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7B4779-E6CD-4810-913E-E05E877E50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00814" y="1730496"/>
            <a:ext cx="1296988" cy="265112"/>
          </a:xfrm>
          <a:prstGeom prst="rect">
            <a:avLst/>
          </a:prstGeom>
          <a:solidFill>
            <a:srgbClr val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fr-BE" altLang="fr-FR" sz="900" b="1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Calibri" panose="020F0502020204030204" pitchFamily="34" charset="0"/>
              </a:rPr>
              <a:t>Usage Nutrithérapeute</a:t>
            </a: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28554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0052C15-05F3-4068-979D-7C47B0EE37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47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0052C15-05F3-4068-979D-7C47B0EE3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A700E596-C177-4E96-8DA3-90A69B28A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Anamnè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1DFF45-BA69-4104-B09C-5DEF75510E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/>
              <a:t>Sexe : </a:t>
            </a:r>
          </a:p>
          <a:p>
            <a:r>
              <a:rPr lang="fr-BE" dirty="0"/>
              <a:t>Age : </a:t>
            </a:r>
          </a:p>
          <a:p>
            <a:pPr marL="68580" indent="0">
              <a:buNone/>
            </a:pPr>
            <a:endParaRPr lang="fr-BE" dirty="0"/>
          </a:p>
          <a:p>
            <a:pPr marL="68580" indent="0">
              <a:buNone/>
            </a:pPr>
            <a:r>
              <a:rPr lang="fr-BE" u="sng" dirty="0"/>
              <a:t>Description des plaintes </a:t>
            </a:r>
          </a:p>
          <a:p>
            <a:pPr lvl="1"/>
            <a:r>
              <a:rPr lang="fr-BE" dirty="0"/>
              <a:t>Xx</a:t>
            </a:r>
          </a:p>
          <a:p>
            <a:pPr lvl="1"/>
            <a:r>
              <a:rPr lang="fr-B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40708826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0052C15-05F3-4068-979D-7C47B0EE37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235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0052C15-05F3-4068-979D-7C47B0EE3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C4C11B4-D25F-4F19-871A-BBFF510B0C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fr-BE" sz="3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700E596-C177-4E96-8DA3-90A69B28A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BE" dirty="0"/>
              <a:t>Propositions de biologies complémentaires / aut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1DFF45-BA69-4104-B09C-5DEF75510E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/>
              <a:t>xx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DEB13E9-765F-4307-A3F1-4E753EB8FC59}"/>
              </a:ext>
            </a:extLst>
          </p:cNvPr>
          <p:cNvSpPr txBox="1"/>
          <p:nvPr/>
        </p:nvSpPr>
        <p:spPr>
          <a:xfrm>
            <a:off x="6244045" y="940821"/>
            <a:ext cx="2734492" cy="7386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fr-BE" sz="1400" i="1" u="sng" dirty="0"/>
              <a:t>Note</a:t>
            </a:r>
            <a:r>
              <a:rPr lang="fr-BE" sz="1400" i="1" dirty="0"/>
              <a:t> </a:t>
            </a:r>
          </a:p>
          <a:p>
            <a:r>
              <a:rPr lang="fr-BE" sz="1400" i="1" dirty="0"/>
              <a:t>analyses pas une obligation</a:t>
            </a:r>
          </a:p>
          <a:p>
            <a:r>
              <a:rPr lang="fr-BE" sz="1400" i="1" dirty="0"/>
              <a:t>Peut aussi être un questionnaire…</a:t>
            </a:r>
          </a:p>
        </p:txBody>
      </p:sp>
    </p:spTree>
    <p:extLst>
      <p:ext uri="{BB962C8B-B14F-4D97-AF65-F5344CB8AC3E}">
        <p14:creationId xmlns:p14="http://schemas.microsoft.com/office/powerpoint/2010/main" val="2592879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0052C15-05F3-4068-979D-7C47B0EE37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543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0052C15-05F3-4068-979D-7C47B0EE3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C4C11B4-D25F-4F19-871A-BBFF510B0C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fr-BE" sz="3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700E596-C177-4E96-8DA3-90A69B28A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Conseils alimentai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1DFF45-BA69-4104-B09C-5DEF75510E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27288955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0052C15-05F3-4068-979D-7C47B0EE37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869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0052C15-05F3-4068-979D-7C47B0EE3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C4C11B4-D25F-4F19-871A-BBFF510B0C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fr-BE" sz="3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700E596-C177-4E96-8DA3-90A69B28A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Autres Consei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1DFF45-BA69-4104-B09C-5DEF75510E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/>
              <a:t>Ex activités physiques, gestion du stress…</a:t>
            </a:r>
          </a:p>
        </p:txBody>
      </p:sp>
    </p:spTree>
    <p:extLst>
      <p:ext uri="{BB962C8B-B14F-4D97-AF65-F5344CB8AC3E}">
        <p14:creationId xmlns:p14="http://schemas.microsoft.com/office/powerpoint/2010/main" val="2433342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0052C15-05F3-4068-979D-7C47B0EE37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53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0052C15-05F3-4068-979D-7C47B0EE3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C4C11B4-D25F-4F19-871A-BBFF510B0C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fr-BE" sz="3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700E596-C177-4E96-8DA3-90A69B28A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Conseils autres interventions </a:t>
            </a:r>
            <a:r>
              <a:rPr lang="fr-BE" dirty="0" err="1"/>
              <a:t>co</a:t>
            </a:r>
            <a:r>
              <a:rPr lang="fr-BE" dirty="0"/>
              <a:t>-thérapeutiq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1DFF45-BA69-4104-B09C-5DEF75510E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/>
              <a:t>Ex </a:t>
            </a:r>
            <a:r>
              <a:rPr lang="fr-BE" dirty="0" err="1"/>
              <a:t>kyné</a:t>
            </a:r>
            <a:r>
              <a:rPr lang="fr-BE" dirty="0"/>
              <a:t>, psy…</a:t>
            </a:r>
          </a:p>
        </p:txBody>
      </p:sp>
    </p:spTree>
    <p:extLst>
      <p:ext uri="{BB962C8B-B14F-4D97-AF65-F5344CB8AC3E}">
        <p14:creationId xmlns:p14="http://schemas.microsoft.com/office/powerpoint/2010/main" val="18711548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0052C15-05F3-4068-979D-7C47B0EE37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468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0052C15-05F3-4068-979D-7C47B0EE3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C4C11B4-D25F-4F19-871A-BBFF510B0C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fr-BE" sz="3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700E596-C177-4E96-8DA3-90A69B28A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Conseils compléments alimentai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1DFF45-BA69-4104-B09C-5DEF75510E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EDB71654-1C0C-4AA1-98D8-BC3DD21755AD}"/>
              </a:ext>
            </a:extLst>
          </p:cNvPr>
          <p:cNvSpPr txBox="1"/>
          <p:nvPr/>
        </p:nvSpPr>
        <p:spPr>
          <a:xfrm>
            <a:off x="6244045" y="940821"/>
            <a:ext cx="2734492" cy="95410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fr-BE" sz="1400" i="1" u="sng" dirty="0"/>
              <a:t>Note</a:t>
            </a:r>
            <a:r>
              <a:rPr lang="fr-BE" sz="1400" i="1" dirty="0"/>
              <a:t> </a:t>
            </a:r>
          </a:p>
          <a:p>
            <a:r>
              <a:rPr lang="fr-BE" sz="1400" i="1" dirty="0"/>
              <a:t>Marques</a:t>
            </a:r>
          </a:p>
          <a:p>
            <a:r>
              <a:rPr lang="fr-BE" sz="1400" i="1" dirty="0"/>
              <a:t>Doses</a:t>
            </a:r>
          </a:p>
          <a:p>
            <a:r>
              <a:rPr lang="fr-BE" sz="1400" i="1" dirty="0"/>
              <a:t>Périodes…</a:t>
            </a:r>
          </a:p>
        </p:txBody>
      </p:sp>
    </p:spTree>
    <p:extLst>
      <p:ext uri="{BB962C8B-B14F-4D97-AF65-F5344CB8AC3E}">
        <p14:creationId xmlns:p14="http://schemas.microsoft.com/office/powerpoint/2010/main" val="1339035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0052C15-05F3-4068-979D-7C47B0EE37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152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0052C15-05F3-4068-979D-7C47B0EE37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C4C11B4-D25F-4F19-871A-BBFF510B0C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fr-BE" sz="30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700E596-C177-4E96-8DA3-90A69B28A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Résulta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1DFF45-BA69-4104-B09C-5DEF75510E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BE" dirty="0"/>
              <a:t>x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17A967E6-73D7-465B-80C9-F2E70E853B12}"/>
              </a:ext>
            </a:extLst>
          </p:cNvPr>
          <p:cNvSpPr txBox="1"/>
          <p:nvPr/>
        </p:nvSpPr>
        <p:spPr>
          <a:xfrm>
            <a:off x="6244045" y="940821"/>
            <a:ext cx="2734492" cy="116955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fr-BE" sz="1400" i="1" u="sng" dirty="0"/>
              <a:t>Note</a:t>
            </a:r>
            <a:r>
              <a:rPr lang="fr-BE" sz="1400" i="1" dirty="0"/>
              <a:t> </a:t>
            </a:r>
          </a:p>
          <a:p>
            <a:r>
              <a:rPr lang="fr-BE" sz="1400" i="1" dirty="0"/>
              <a:t>Intéressant aussi de mentionner ce qui n’a pas marché ou si problème(s) rencontré(s) par exemple avec un complément …</a:t>
            </a:r>
          </a:p>
        </p:txBody>
      </p:sp>
    </p:spTree>
    <p:extLst>
      <p:ext uri="{BB962C8B-B14F-4D97-AF65-F5344CB8AC3E}">
        <p14:creationId xmlns:p14="http://schemas.microsoft.com/office/powerpoint/2010/main" val="851560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nGKxk72WW0bAR8YXe6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nGKxk72WW0bAR8YXe6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nGKxk72WW0bAR8YXe6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nGKxk72WW0bAR8YXe6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nGKxk72WW0bAR8YXe6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JA88OIA1orJMD_ghuq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G8im2_S9yx44Xvnn.A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nGKxk72WW0bAR8YXe6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UDNF">
  <a:themeElements>
    <a:clrScheme name="Custom 3">
      <a:dk1>
        <a:srgbClr val="24213E"/>
      </a:dk1>
      <a:lt1>
        <a:sysClr val="window" lastClr="FFFFFF"/>
      </a:lt1>
      <a:dk2>
        <a:srgbClr val="24213E"/>
      </a:dk2>
      <a:lt2>
        <a:srgbClr val="E9EAF0"/>
      </a:lt2>
      <a:accent1>
        <a:srgbClr val="E8BC4A"/>
      </a:accent1>
      <a:accent2>
        <a:srgbClr val="83C1C6"/>
      </a:accent2>
      <a:accent3>
        <a:srgbClr val="E78D35"/>
      </a:accent3>
      <a:accent4>
        <a:srgbClr val="909CE1"/>
      </a:accent4>
      <a:accent5>
        <a:srgbClr val="839C41"/>
      </a:accent5>
      <a:accent6>
        <a:srgbClr val="CC5439"/>
      </a:accent6>
      <a:hlink>
        <a:srgbClr val="1C6CF1"/>
      </a:hlink>
      <a:folHlink>
        <a:srgbClr val="C649E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ustin">
      <a:fillStyleLst>
        <a:solidFill>
          <a:schemeClr val="phClr"/>
        </a:solidFill>
        <a:gradFill rotWithShape="1">
          <a:gsLst>
            <a:gs pos="0">
              <a:schemeClr val="phClr">
                <a:tint val="20000"/>
                <a:satMod val="180000"/>
                <a:lumMod val="98000"/>
              </a:schemeClr>
            </a:gs>
            <a:gs pos="40000">
              <a:schemeClr val="phClr">
                <a:tint val="30000"/>
                <a:satMod val="260000"/>
                <a:lumMod val="84000"/>
              </a:schemeClr>
            </a:gs>
            <a:gs pos="100000">
              <a:schemeClr val="phClr">
                <a:tint val="100000"/>
                <a:satMod val="110000"/>
                <a:lumMod val="100000"/>
              </a:schemeClr>
            </a:gs>
          </a:gsLst>
          <a:lin ang="504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75000"/>
                <a:satMod val="120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>
            <a:bevelT w="50800" h="12700" prst="softRound"/>
          </a:sp3d>
        </a:effectStyle>
        <a:effectStyle>
          <a:effectLst>
            <a:outerShdw blurRad="44450" dist="50800" dir="5400000" sx="96000" rotWithShape="0">
              <a:srgbClr val="000000">
                <a:alpha val="3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 contourW="15875" prstMaterial="metal">
            <a:bevelT w="101600" h="25400" prst="softRound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94000"/>
                <a:satMod val="114000"/>
                <a:lumMod val="96000"/>
              </a:schemeClr>
            </a:gs>
            <a:gs pos="62000">
              <a:schemeClr val="phClr">
                <a:tint val="92000"/>
                <a:shade val="66000"/>
                <a:satMod val="110000"/>
                <a:lumMod val="80000"/>
              </a:schemeClr>
            </a:gs>
            <a:gs pos="100000">
              <a:schemeClr val="phClr">
                <a:tint val="89000"/>
                <a:shade val="62000"/>
                <a:satMod val="110000"/>
                <a:lumMod val="72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tint val="80000"/>
                <a:shade val="58000"/>
              </a:schemeClr>
              <a:schemeClr val="phClr">
                <a:tint val="73000"/>
                <a:shade val="68000"/>
                <a:satMod val="15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FDC55B7FA9A841AA586899F354A20E" ma:contentTypeVersion="10" ma:contentTypeDescription="Create a new document." ma:contentTypeScope="" ma:versionID="520448ce4153ebf2297f89babda37e3f">
  <xsd:schema xmlns:xsd="http://www.w3.org/2001/XMLSchema" xmlns:xs="http://www.w3.org/2001/XMLSchema" xmlns:p="http://schemas.microsoft.com/office/2006/metadata/properties" xmlns:ns3="6f207337-3b45-439a-8573-ba527b526e3c" targetNamespace="http://schemas.microsoft.com/office/2006/metadata/properties" ma:root="true" ma:fieldsID="abf322825eff99503d713bf0f992fd14" ns3:_="">
    <xsd:import namespace="6f207337-3b45-439a-8573-ba527b526e3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207337-3b45-439a-8573-ba527b526e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99CFD3D-820D-4772-B108-5B712BDC98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207337-3b45-439a-8573-ba527b526e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CEBB6A6-22FE-4E4D-9D70-C75B79FA7C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999D6DE-FA99-453F-88B9-49F20E890E1A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f207337-3b45-439a-8573-ba527b526e3c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09</Words>
  <Application>Microsoft Macintosh PowerPoint</Application>
  <PresentationFormat>Présentation à l'écran (4:3)</PresentationFormat>
  <Paragraphs>35</Paragraphs>
  <Slides>8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0" baseType="lpstr">
      <vt:lpstr>UDNF</vt:lpstr>
      <vt:lpstr>think-cell Slide</vt:lpstr>
      <vt:lpstr>XXXX</vt:lpstr>
      <vt:lpstr>Anamnèse</vt:lpstr>
      <vt:lpstr>Propositions de biologies complémentaires / autre</vt:lpstr>
      <vt:lpstr>Conseils alimentaires</vt:lpstr>
      <vt:lpstr>Autres Conseils</vt:lpstr>
      <vt:lpstr>Conseils autres interventions co-thérapeutiques</vt:lpstr>
      <vt:lpstr>Conseils compléments alimentaires</vt:lpstr>
      <vt:lpstr>Résultat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ricia Bourguignon</dc:creator>
  <cp:lastModifiedBy>Isabelle Rome</cp:lastModifiedBy>
  <cp:revision>2</cp:revision>
  <dcterms:created xsi:type="dcterms:W3CDTF">2020-07-05T07:15:31Z</dcterms:created>
  <dcterms:modified xsi:type="dcterms:W3CDTF">2021-01-10T09:0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FDC55B7FA9A841AA586899F354A20E</vt:lpwstr>
  </property>
</Properties>
</file>